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slideLayouts/slideLayout22.xml" ContentType="application/vnd.openxmlformats-officedocument.presentationml.slideLayout+xml"/>
  <Override PartName="/ppt/theme/theme3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tags/tag5.xml" ContentType="application/vnd.openxmlformats-officedocument.presentationml.tags+xml"/>
  <Override PartName="/ppt/notesSlides/notesSlide5.xml" ContentType="application/vnd.openxmlformats-officedocument.presentationml.notesSlide+xml"/>
  <Override PartName="/ppt/tags/tag6.xml" ContentType="application/vnd.openxmlformats-officedocument.presentationml.tags+xml"/>
  <Override PartName="/ppt/notesSlides/notesSlide6.xml" ContentType="application/vnd.openxmlformats-officedocument.presentationml.notesSlide+xml"/>
  <Override PartName="/ppt/tags/tag7.xml" ContentType="application/vnd.openxmlformats-officedocument.presentationml.tags+xml"/>
  <Override PartName="/ppt/notesSlides/notesSlide7.xml" ContentType="application/vnd.openxmlformats-officedocument.presentationml.notesSlide+xml"/>
  <Override PartName="/ppt/tags/tag8.xml" ContentType="application/vnd.openxmlformats-officedocument.presentationml.tags+xml"/>
  <Override PartName="/ppt/notesSlides/notesSlide8.xml" ContentType="application/vnd.openxmlformats-officedocument.presentationml.notesSlide+xml"/>
  <Override PartName="/ppt/tags/tag9.xml" ContentType="application/vnd.openxmlformats-officedocument.presentationml.tags+xml"/>
  <Override PartName="/ppt/notesSlides/notesSlide9.xml" ContentType="application/vnd.openxmlformats-officedocument.presentationml.notesSlide+xml"/>
  <Override PartName="/ppt/tags/tag10.xml" ContentType="application/vnd.openxmlformats-officedocument.presentationml.tags+xml"/>
  <Override PartName="/ppt/notesSlides/notesSlide10.xml" ContentType="application/vnd.openxmlformats-officedocument.presentationml.notesSlide+xml"/>
  <Override PartName="/ppt/tags/tag11.xml" ContentType="application/vnd.openxmlformats-officedocument.presentationml.tags+xml"/>
  <Override PartName="/ppt/notesSlides/notesSlide11.xml" ContentType="application/vnd.openxmlformats-officedocument.presentationml.notesSlide+xml"/>
  <Override PartName="/ppt/tags/tag12.xml" ContentType="application/vnd.openxmlformats-officedocument.presentationml.tags+xml"/>
  <Override PartName="/ppt/notesSlides/notesSlide12.xml" ContentType="application/vnd.openxmlformats-officedocument.presentationml.notesSlide+xml"/>
  <Override PartName="/ppt/tags/tag13.xml" ContentType="application/vnd.openxmlformats-officedocument.presentationml.tags+xml"/>
  <Override PartName="/ppt/notesSlides/notesSlide13.xml" ContentType="application/vnd.openxmlformats-officedocument.presentationml.notesSlide+xml"/>
  <Override PartName="/ppt/tags/tag14.xml" ContentType="application/vnd.openxmlformats-officedocument.presentationml.tags+xml"/>
  <Override PartName="/ppt/notesSlides/notesSlide14.xml" ContentType="application/vnd.openxmlformats-officedocument.presentationml.notesSlide+xml"/>
  <Override PartName="/ppt/tags/tag15.xml" ContentType="application/vnd.openxmlformats-officedocument.presentationml.tags+xml"/>
  <Override PartName="/ppt/notesSlides/notesSlide15.xml" ContentType="application/vnd.openxmlformats-officedocument.presentationml.notesSlide+xml"/>
  <Override PartName="/ppt/tags/tag16.xml" ContentType="application/vnd.openxmlformats-officedocument.presentationml.tags+xml"/>
  <Override PartName="/ppt/notesSlides/notesSlide16.xml" ContentType="application/vnd.openxmlformats-officedocument.presentationml.notesSlide+xml"/>
  <Override PartName="/ppt/tags/tag17.xml" ContentType="application/vnd.openxmlformats-officedocument.presentationml.tags+xml"/>
  <Override PartName="/ppt/notesSlides/notesSlide17.xml" ContentType="application/vnd.openxmlformats-officedocument.presentationml.notesSlide+xml"/>
  <Override PartName="/ppt/tags/tag18.xml" ContentType="application/vnd.openxmlformats-officedocument.presentationml.tags+xml"/>
  <Override PartName="/ppt/notesSlides/notesSlide18.xml" ContentType="application/vnd.openxmlformats-officedocument.presentationml.notesSlide+xml"/>
  <Override PartName="/ppt/tags/tag19.xml" ContentType="application/vnd.openxmlformats-officedocument.presentationml.tags+xml"/>
  <Override PartName="/ppt/notesSlides/notesSlide19.xml" ContentType="application/vnd.openxmlformats-officedocument.presentationml.notesSlide+xml"/>
  <Override PartName="/ppt/tags/tag20.xml" ContentType="application/vnd.openxmlformats-officedocument.presentationml.tags+xml"/>
  <Override PartName="/ppt/notesSlides/notesSlide20.xml" ContentType="application/vnd.openxmlformats-officedocument.presentationml.notesSlide+xml"/>
  <Override PartName="/ppt/tags/tag21.xml" ContentType="application/vnd.openxmlformats-officedocument.presentationml.tags+xml"/>
  <Override PartName="/ppt/notesSlides/notesSlide21.xml" ContentType="application/vnd.openxmlformats-officedocument.presentationml.notesSlide+xml"/>
  <Override PartName="/ppt/tags/tag22.xml" ContentType="application/vnd.openxmlformats-officedocument.presentationml.tags+xml"/>
  <Override PartName="/ppt/notesSlides/notesSlide22.xml" ContentType="application/vnd.openxmlformats-officedocument.presentationml.notesSlide+xml"/>
  <Override PartName="/ppt/tags/tag23.xml" ContentType="application/vnd.openxmlformats-officedocument.presentationml.tags+xml"/>
  <Override PartName="/ppt/notesSlides/notesSlide23.xml" ContentType="application/vnd.openxmlformats-officedocument.presentationml.notesSlide+xml"/>
  <Override PartName="/ppt/tags/tag24.xml" ContentType="application/vnd.openxmlformats-officedocument.presentationml.tags+xml"/>
  <Override PartName="/ppt/notesSlides/notesSlide24.xml" ContentType="application/vnd.openxmlformats-officedocument.presentationml.notesSlide+xml"/>
  <Override PartName="/ppt/tags/tag25.xml" ContentType="application/vnd.openxmlformats-officedocument.presentationml.tags+xml"/>
  <Override PartName="/ppt/notesSlides/notesSlide25.xml" ContentType="application/vnd.openxmlformats-officedocument.presentationml.notesSlide+xml"/>
  <Override PartName="/ppt/tags/tag26.xml" ContentType="application/vnd.openxmlformats-officedocument.presentationml.tags+xml"/>
  <Override PartName="/ppt/notesSlides/notesSlide26.xml" ContentType="application/vnd.openxmlformats-officedocument.presentationml.notesSlide+xml"/>
  <Override PartName="/ppt/tags/tag27.xml" ContentType="application/vnd.openxmlformats-officedocument.presentationml.tags+xml"/>
  <Override PartName="/ppt/notesSlides/notesSlide27.xml" ContentType="application/vnd.openxmlformats-officedocument.presentationml.notesSlide+xml"/>
  <Override PartName="/ppt/tags/tag28.xml" ContentType="application/vnd.openxmlformats-officedocument.presentationml.tags+xml"/>
  <Override PartName="/ppt/notesSlides/notesSlide28.xml" ContentType="application/vnd.openxmlformats-officedocument.presentationml.notesSlide+xml"/>
  <Override PartName="/ppt/tags/tag29.xml" ContentType="application/vnd.openxmlformats-officedocument.presentationml.tags+xml"/>
  <Override PartName="/ppt/notesSlides/notesSlide29.xml" ContentType="application/vnd.openxmlformats-officedocument.presentationml.notesSlide+xml"/>
  <Override PartName="/ppt/tags/tag30.xml" ContentType="application/vnd.openxmlformats-officedocument.presentationml.tags+xml"/>
  <Override PartName="/ppt/notesSlides/notesSlide30.xml" ContentType="application/vnd.openxmlformats-officedocument.presentationml.notesSlide+xml"/>
  <Override PartName="/ppt/tags/tag31.xml" ContentType="application/vnd.openxmlformats-officedocument.presentationml.tags+xml"/>
  <Override PartName="/ppt/notesSlides/notesSlide31.xml" ContentType="application/vnd.openxmlformats-officedocument.presentationml.notesSlide+xml"/>
  <Override PartName="/ppt/tags/tag32.xml" ContentType="application/vnd.openxmlformats-officedocument.presentationml.tags+xml"/>
  <Override PartName="/ppt/notesSlides/notesSlide32.xml" ContentType="application/vnd.openxmlformats-officedocument.presentationml.notesSlide+xml"/>
  <Override PartName="/ppt/tags/tag33.xml" ContentType="application/vnd.openxmlformats-officedocument.presentationml.tags+xml"/>
  <Override PartName="/ppt/notesSlides/notesSlide33.xml" ContentType="application/vnd.openxmlformats-officedocument.presentationml.notesSlide+xml"/>
  <Override PartName="/ppt/tags/tag34.xml" ContentType="application/vnd.openxmlformats-officedocument.presentationml.tags+xml"/>
  <Override PartName="/ppt/notesSlides/notesSlide34.xml" ContentType="application/vnd.openxmlformats-officedocument.presentationml.notesSlide+xml"/>
  <Override PartName="/ppt/tags/tag35.xml" ContentType="application/vnd.openxmlformats-officedocument.presentationml.tags+xml"/>
  <Override PartName="/ppt/notesSlides/notesSlide35.xml" ContentType="application/vnd.openxmlformats-officedocument.presentationml.notesSlide+xml"/>
  <Override PartName="/ppt/tags/tag36.xml" ContentType="application/vnd.openxmlformats-officedocument.presentationml.tags+xml"/>
  <Override PartName="/ppt/notesSlides/notesSlide36.xml" ContentType="application/vnd.openxmlformats-officedocument.presentationml.notesSlide+xml"/>
  <Override PartName="/ppt/tags/tag37.xml" ContentType="application/vnd.openxmlformats-officedocument.presentationml.tags+xml"/>
  <Override PartName="/ppt/notesSlides/notesSlide37.xml" ContentType="application/vnd.openxmlformats-officedocument.presentationml.notesSlide+xml"/>
  <Override PartName="/ppt/tags/tag38.xml" ContentType="application/vnd.openxmlformats-officedocument.presentationml.tags+xml"/>
  <Override PartName="/ppt/notesSlides/notesSlide38.xml" ContentType="application/vnd.openxmlformats-officedocument.presentationml.notesSlide+xml"/>
  <Override PartName="/ppt/tags/tag39.xml" ContentType="application/vnd.openxmlformats-officedocument.presentationml.tags+xml"/>
  <Override PartName="/ppt/notesSlides/notesSlide39.xml" ContentType="application/vnd.openxmlformats-officedocument.presentationml.notesSlide+xml"/>
  <Override PartName="/ppt/tags/tag40.xml" ContentType="application/vnd.openxmlformats-officedocument.presentationml.tags+xml"/>
  <Override PartName="/ppt/notesSlides/notesSlide40.xml" ContentType="application/vnd.openxmlformats-officedocument.presentationml.notesSlide+xml"/>
  <Override PartName="/ppt/tags/tag41.xml" ContentType="application/vnd.openxmlformats-officedocument.presentationml.tags+xml"/>
  <Override PartName="/ppt/notesSlides/notesSlide41.xml" ContentType="application/vnd.openxmlformats-officedocument.presentationml.notesSlide+xml"/>
  <Override PartName="/ppt/tags/tag42.xml" ContentType="application/vnd.openxmlformats-officedocument.presentationml.tags+xml"/>
  <Override PartName="/ppt/notesSlides/notesSlide4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0" r:id="rId1"/>
    <p:sldMasterId id="2147483652" r:id="rId2"/>
    <p:sldMasterId id="2147483684" r:id="rId3"/>
    <p:sldMasterId id="2147483704" r:id="rId4"/>
  </p:sldMasterIdLst>
  <p:notesMasterIdLst>
    <p:notesMasterId r:id="rId48"/>
  </p:notesMasterIdLst>
  <p:sldIdLst>
    <p:sldId id="323" r:id="rId5"/>
    <p:sldId id="329" r:id="rId6"/>
    <p:sldId id="333" r:id="rId7"/>
    <p:sldId id="332" r:id="rId8"/>
    <p:sldId id="331" r:id="rId9"/>
    <p:sldId id="330" r:id="rId10"/>
    <p:sldId id="348" r:id="rId11"/>
    <p:sldId id="347" r:id="rId12"/>
    <p:sldId id="346" r:id="rId13"/>
    <p:sldId id="345" r:id="rId14"/>
    <p:sldId id="344" r:id="rId15"/>
    <p:sldId id="343" r:id="rId16"/>
    <p:sldId id="342" r:id="rId17"/>
    <p:sldId id="353" r:id="rId18"/>
    <p:sldId id="373" r:id="rId19"/>
    <p:sldId id="374" r:id="rId20"/>
    <p:sldId id="376" r:id="rId21"/>
    <p:sldId id="350" r:id="rId22"/>
    <p:sldId id="362" r:id="rId23"/>
    <p:sldId id="364" r:id="rId24"/>
    <p:sldId id="365" r:id="rId25"/>
    <p:sldId id="363" r:id="rId26"/>
    <p:sldId id="369" r:id="rId27"/>
    <p:sldId id="368" r:id="rId28"/>
    <p:sldId id="375" r:id="rId29"/>
    <p:sldId id="367" r:id="rId30"/>
    <p:sldId id="370" r:id="rId31"/>
    <p:sldId id="366" r:id="rId32"/>
    <p:sldId id="372" r:id="rId33"/>
    <p:sldId id="371" r:id="rId34"/>
    <p:sldId id="352" r:id="rId35"/>
    <p:sldId id="349" r:id="rId36"/>
    <p:sldId id="341" r:id="rId37"/>
    <p:sldId id="334" r:id="rId38"/>
    <p:sldId id="340" r:id="rId39"/>
    <p:sldId id="339" r:id="rId40"/>
    <p:sldId id="357" r:id="rId41"/>
    <p:sldId id="356" r:id="rId42"/>
    <p:sldId id="355" r:id="rId43"/>
    <p:sldId id="354" r:id="rId44"/>
    <p:sldId id="360" r:id="rId45"/>
    <p:sldId id="359" r:id="rId46"/>
    <p:sldId id="336" r:id="rId47"/>
  </p:sldIdLst>
  <p:sldSz cx="12192000" cy="6858000"/>
  <p:notesSz cx="6858000" cy="9144000"/>
  <p:defaultTextStyle>
    <a:defPPr>
      <a:defRPr lang="en-US"/>
    </a:defPPr>
    <a:lvl1pPr marL="0" algn="l" defTabSz="91428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44" algn="l" defTabSz="91428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286" algn="l" defTabSz="91428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429" algn="l" defTabSz="91428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571" algn="l" defTabSz="91428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715" algn="l" defTabSz="91428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857" algn="l" defTabSz="91428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000" algn="l" defTabSz="91428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144" algn="l" defTabSz="91428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48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19897"/>
    <a:srgbClr val="6B778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0592" autoAdjust="0"/>
    <p:restoredTop sz="94660"/>
  </p:normalViewPr>
  <p:slideViewPr>
    <p:cSldViewPr snapToGrid="0">
      <p:cViewPr varScale="1">
        <p:scale>
          <a:sx n="86" d="100"/>
          <a:sy n="86" d="100"/>
        </p:scale>
        <p:origin x="302" y="48"/>
      </p:cViewPr>
      <p:guideLst>
        <p:guide orient="horz" pos="248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viewProps" Target="viewProps.xml"/><Relationship Id="rId7" Type="http://schemas.openxmlformats.org/officeDocument/2006/relationships/slide" Target="slides/slide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notesMaster" Target="notesMasters/notesMaster1.xml"/><Relationship Id="rId8" Type="http://schemas.openxmlformats.org/officeDocument/2006/relationships/slide" Target="slides/slide4.xml"/><Relationship Id="rId51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21C466A-BEE1-465C-8B45-A5956C557BA0}" type="datetimeFigureOut">
              <a:rPr lang="en-US" smtClean="0"/>
              <a:t>2/6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8D1E45D-C88A-4E28-88AF-6B7BE2B1A12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75522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09539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1pPr>
    <a:lvl2pPr marL="304770" algn="l" defTabSz="609539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2pPr>
    <a:lvl3pPr marL="609539" algn="l" defTabSz="609539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3pPr>
    <a:lvl4pPr marL="914309" algn="l" defTabSz="609539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4pPr>
    <a:lvl5pPr marL="1219078" algn="l" defTabSz="609539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5pPr>
    <a:lvl6pPr marL="1523848" algn="l" defTabSz="609539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6pPr>
    <a:lvl7pPr marL="1828617" algn="l" defTabSz="609539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7pPr>
    <a:lvl8pPr marL="2133387" algn="l" defTabSz="609539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8pPr>
    <a:lvl9pPr marL="2438156" algn="l" defTabSz="609539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864918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419168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39770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998867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921436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397729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795295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93403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801505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236269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365113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795570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154915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798930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824169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3593810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241961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3300165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0251259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5561847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2089682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335179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52527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361853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855949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0491486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9638475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3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0485447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3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9466138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3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7459162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3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3524218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3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2612546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4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317997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3579347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4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8397265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4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832227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4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302272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709593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012450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108125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274612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31013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6422407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image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그림 개체 틀 2">
            <a:extLst>
              <a:ext uri="{FF2B5EF4-FFF2-40B4-BE49-F238E27FC236}">
                <a16:creationId xmlns:a16="http://schemas.microsoft.com/office/drawing/2014/main" id="{FB18C16F-B5CD-49A5-9132-508D237A8037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txBody>
          <a:bodyPr anchor="ctr"/>
          <a:lstStyle>
            <a:lvl1pPr marL="0" indent="0" algn="ctr">
              <a:buFontTx/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altLang="ko-KR" dirty="0"/>
              <a:t>Place Your Picture Her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22663660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image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그림 개체 틀 2">
            <a:extLst>
              <a:ext uri="{FF2B5EF4-FFF2-40B4-BE49-F238E27FC236}">
                <a16:creationId xmlns:a16="http://schemas.microsoft.com/office/drawing/2014/main" id="{FB18C16F-B5CD-49A5-9132-508D237A8037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247973" y="244099"/>
            <a:ext cx="11696055" cy="6369803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txBody>
          <a:bodyPr anchor="ctr"/>
          <a:lstStyle>
            <a:lvl1pPr marL="0" indent="0" algn="ctr">
              <a:buFontTx/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altLang="ko-KR" dirty="0"/>
              <a:t>Place Your Picture Her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97752009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image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4779E88-F9CF-46EF-AD4D-47450CCF417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364637" y="944834"/>
            <a:ext cx="4968333" cy="4968333"/>
          </a:xfrm>
          <a:custGeom>
            <a:avLst/>
            <a:gdLst>
              <a:gd name="connsiteX0" fmla="*/ 1806860 w 7452500"/>
              <a:gd name="connsiteY0" fmla="*/ 0 h 7452500"/>
              <a:gd name="connsiteX1" fmla="*/ 3726250 w 7452500"/>
              <a:gd name="connsiteY1" fmla="*/ 1919390 h 7452500"/>
              <a:gd name="connsiteX2" fmla="*/ 5645640 w 7452500"/>
              <a:gd name="connsiteY2" fmla="*/ 0 h 7452500"/>
              <a:gd name="connsiteX3" fmla="*/ 7452500 w 7452500"/>
              <a:gd name="connsiteY3" fmla="*/ 1806860 h 7452500"/>
              <a:gd name="connsiteX4" fmla="*/ 5533110 w 7452500"/>
              <a:gd name="connsiteY4" fmla="*/ 3726250 h 7452500"/>
              <a:gd name="connsiteX5" fmla="*/ 7452500 w 7452500"/>
              <a:gd name="connsiteY5" fmla="*/ 5645640 h 7452500"/>
              <a:gd name="connsiteX6" fmla="*/ 5645640 w 7452500"/>
              <a:gd name="connsiteY6" fmla="*/ 7452500 h 7452500"/>
              <a:gd name="connsiteX7" fmla="*/ 3726250 w 7452500"/>
              <a:gd name="connsiteY7" fmla="*/ 5533110 h 7452500"/>
              <a:gd name="connsiteX8" fmla="*/ 1806860 w 7452500"/>
              <a:gd name="connsiteY8" fmla="*/ 7452500 h 7452500"/>
              <a:gd name="connsiteX9" fmla="*/ 0 w 7452500"/>
              <a:gd name="connsiteY9" fmla="*/ 5645640 h 7452500"/>
              <a:gd name="connsiteX10" fmla="*/ 1919390 w 7452500"/>
              <a:gd name="connsiteY10" fmla="*/ 3726250 h 7452500"/>
              <a:gd name="connsiteX11" fmla="*/ 0 w 7452500"/>
              <a:gd name="connsiteY11" fmla="*/ 1806860 h 7452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452500" h="7452500">
                <a:moveTo>
                  <a:pt x="1806860" y="0"/>
                </a:moveTo>
                <a:lnTo>
                  <a:pt x="3726250" y="1919390"/>
                </a:lnTo>
                <a:lnTo>
                  <a:pt x="5645640" y="0"/>
                </a:lnTo>
                <a:lnTo>
                  <a:pt x="7452500" y="1806860"/>
                </a:lnTo>
                <a:lnTo>
                  <a:pt x="5533110" y="3726250"/>
                </a:lnTo>
                <a:lnTo>
                  <a:pt x="7452500" y="5645640"/>
                </a:lnTo>
                <a:lnTo>
                  <a:pt x="5645640" y="7452500"/>
                </a:lnTo>
                <a:lnTo>
                  <a:pt x="3726250" y="5533110"/>
                </a:lnTo>
                <a:lnTo>
                  <a:pt x="1806860" y="7452500"/>
                </a:lnTo>
                <a:lnTo>
                  <a:pt x="0" y="5645640"/>
                </a:lnTo>
                <a:lnTo>
                  <a:pt x="1919390" y="3726250"/>
                </a:lnTo>
                <a:lnTo>
                  <a:pt x="0" y="180686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altLang="ko-KR" dirty="0"/>
              <a:t>Place Your Picture Her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6519622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image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8D73045-0B82-42B3-AACE-D96E45E3ECE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622521" y="0"/>
            <a:ext cx="6569479" cy="6858000"/>
          </a:xfrm>
          <a:custGeom>
            <a:avLst/>
            <a:gdLst>
              <a:gd name="connsiteX0" fmla="*/ 3702233 w 9854218"/>
              <a:gd name="connsiteY0" fmla="*/ 10176083 h 10287000"/>
              <a:gd name="connsiteX1" fmla="*/ 3789992 w 9854218"/>
              <a:gd name="connsiteY1" fmla="*/ 10255622 h 10287000"/>
              <a:gd name="connsiteX2" fmla="*/ 3816186 w 9854218"/>
              <a:gd name="connsiteY2" fmla="*/ 10287000 h 10287000"/>
              <a:gd name="connsiteX3" fmla="*/ 3772988 w 9854218"/>
              <a:gd name="connsiteY3" fmla="*/ 10287000 h 10287000"/>
              <a:gd name="connsiteX4" fmla="*/ 3756533 w 9854218"/>
              <a:gd name="connsiteY4" fmla="*/ 10269543 h 10287000"/>
              <a:gd name="connsiteX5" fmla="*/ 3678386 w 9854218"/>
              <a:gd name="connsiteY5" fmla="*/ 10176729 h 10287000"/>
              <a:gd name="connsiteX6" fmla="*/ 3702233 w 9854218"/>
              <a:gd name="connsiteY6" fmla="*/ 10176083 h 10287000"/>
              <a:gd name="connsiteX7" fmla="*/ 3705923 w 9854218"/>
              <a:gd name="connsiteY7" fmla="*/ 10030618 h 10287000"/>
              <a:gd name="connsiteX8" fmla="*/ 3847970 w 9854218"/>
              <a:gd name="connsiteY8" fmla="*/ 10176154 h 10287000"/>
              <a:gd name="connsiteX9" fmla="*/ 3959456 w 9854218"/>
              <a:gd name="connsiteY9" fmla="*/ 10287000 h 10287000"/>
              <a:gd name="connsiteX10" fmla="*/ 3904190 w 9854218"/>
              <a:gd name="connsiteY10" fmla="*/ 10287000 h 10287000"/>
              <a:gd name="connsiteX11" fmla="*/ 3902490 w 9854218"/>
              <a:gd name="connsiteY11" fmla="*/ 10285437 h 10287000"/>
              <a:gd name="connsiteX12" fmla="*/ 3829493 w 9854218"/>
              <a:gd name="connsiteY12" fmla="*/ 10224459 h 10287000"/>
              <a:gd name="connsiteX13" fmla="*/ 3705923 w 9854218"/>
              <a:gd name="connsiteY13" fmla="*/ 10030618 h 10287000"/>
              <a:gd name="connsiteX14" fmla="*/ 1244332 w 9854218"/>
              <a:gd name="connsiteY14" fmla="*/ 9732028 h 10287000"/>
              <a:gd name="connsiteX15" fmla="*/ 1244333 w 9854218"/>
              <a:gd name="connsiteY15" fmla="*/ 9742350 h 10287000"/>
              <a:gd name="connsiteX16" fmla="*/ 1244333 w 9854218"/>
              <a:gd name="connsiteY16" fmla="*/ 9752674 h 10287000"/>
              <a:gd name="connsiteX17" fmla="*/ 1234499 w 9854218"/>
              <a:gd name="connsiteY17" fmla="*/ 9744334 h 10287000"/>
              <a:gd name="connsiteX18" fmla="*/ 1234001 w 9854218"/>
              <a:gd name="connsiteY18" fmla="*/ 9742350 h 10287000"/>
              <a:gd name="connsiteX19" fmla="*/ 1244332 w 9854218"/>
              <a:gd name="connsiteY19" fmla="*/ 9732028 h 10287000"/>
              <a:gd name="connsiteX20" fmla="*/ 3569508 w 9854218"/>
              <a:gd name="connsiteY20" fmla="*/ 9650436 h 10287000"/>
              <a:gd name="connsiteX21" fmla="*/ 3581998 w 9854218"/>
              <a:gd name="connsiteY21" fmla="*/ 9662421 h 10287000"/>
              <a:gd name="connsiteX22" fmla="*/ 3570923 w 9854218"/>
              <a:gd name="connsiteY22" fmla="*/ 9656094 h 10287000"/>
              <a:gd name="connsiteX23" fmla="*/ 3568812 w 9854218"/>
              <a:gd name="connsiteY23" fmla="*/ 9649767 h 10287000"/>
              <a:gd name="connsiteX24" fmla="*/ 3569340 w 9854218"/>
              <a:gd name="connsiteY24" fmla="*/ 9649768 h 10287000"/>
              <a:gd name="connsiteX25" fmla="*/ 3569508 w 9854218"/>
              <a:gd name="connsiteY25" fmla="*/ 9650436 h 10287000"/>
              <a:gd name="connsiteX26" fmla="*/ 3733836 w 9854218"/>
              <a:gd name="connsiteY26" fmla="*/ 9636734 h 10287000"/>
              <a:gd name="connsiteX27" fmla="*/ 3746490 w 9854218"/>
              <a:gd name="connsiteY27" fmla="*/ 9649767 h 10287000"/>
              <a:gd name="connsiteX28" fmla="*/ 3733838 w 9854218"/>
              <a:gd name="connsiteY28" fmla="*/ 9637113 h 10287000"/>
              <a:gd name="connsiteX29" fmla="*/ 3494952 w 9854218"/>
              <a:gd name="connsiteY29" fmla="*/ 9551220 h 10287000"/>
              <a:gd name="connsiteX30" fmla="*/ 3496187 w 9854218"/>
              <a:gd name="connsiteY30" fmla="*/ 9552490 h 10287000"/>
              <a:gd name="connsiteX31" fmla="*/ 3504850 w 9854218"/>
              <a:gd name="connsiteY31" fmla="*/ 9560888 h 10287000"/>
              <a:gd name="connsiteX32" fmla="*/ 3499745 w 9854218"/>
              <a:gd name="connsiteY32" fmla="*/ 9559612 h 10287000"/>
              <a:gd name="connsiteX33" fmla="*/ 3455460 w 9854218"/>
              <a:gd name="connsiteY33" fmla="*/ 9510579 h 10287000"/>
              <a:gd name="connsiteX34" fmla="*/ 3480766 w 9854218"/>
              <a:gd name="connsiteY34" fmla="*/ 9535886 h 10287000"/>
              <a:gd name="connsiteX35" fmla="*/ 3493421 w 9854218"/>
              <a:gd name="connsiteY35" fmla="*/ 9548540 h 10287000"/>
              <a:gd name="connsiteX36" fmla="*/ 3494952 w 9854218"/>
              <a:gd name="connsiteY36" fmla="*/ 9551220 h 10287000"/>
              <a:gd name="connsiteX37" fmla="*/ 3392190 w 9854218"/>
              <a:gd name="connsiteY37" fmla="*/ 9409350 h 10287000"/>
              <a:gd name="connsiteX38" fmla="*/ 3404846 w 9854218"/>
              <a:gd name="connsiteY38" fmla="*/ 9409350 h 10287000"/>
              <a:gd name="connsiteX39" fmla="*/ 3417497 w 9854218"/>
              <a:gd name="connsiteY39" fmla="*/ 9409350 h 10287000"/>
              <a:gd name="connsiteX40" fmla="*/ 3797105 w 9854218"/>
              <a:gd name="connsiteY40" fmla="*/ 9738340 h 10287000"/>
              <a:gd name="connsiteX41" fmla="*/ 3809762 w 9854218"/>
              <a:gd name="connsiteY41" fmla="*/ 9738340 h 10287000"/>
              <a:gd name="connsiteX42" fmla="*/ 3835066 w 9854218"/>
              <a:gd name="connsiteY42" fmla="*/ 9776301 h 10287000"/>
              <a:gd name="connsiteX43" fmla="*/ 3873026 w 9854218"/>
              <a:gd name="connsiteY43" fmla="*/ 9801610 h 10287000"/>
              <a:gd name="connsiteX44" fmla="*/ 3910990 w 9854218"/>
              <a:gd name="connsiteY44" fmla="*/ 9839571 h 10287000"/>
              <a:gd name="connsiteX45" fmla="*/ 3936296 w 9854218"/>
              <a:gd name="connsiteY45" fmla="*/ 9852222 h 10287000"/>
              <a:gd name="connsiteX46" fmla="*/ 3961601 w 9854218"/>
              <a:gd name="connsiteY46" fmla="*/ 9877532 h 10287000"/>
              <a:gd name="connsiteX47" fmla="*/ 3999564 w 9854218"/>
              <a:gd name="connsiteY47" fmla="*/ 9902836 h 10287000"/>
              <a:gd name="connsiteX48" fmla="*/ 4113444 w 9854218"/>
              <a:gd name="connsiteY48" fmla="*/ 10004066 h 10287000"/>
              <a:gd name="connsiteX49" fmla="*/ 4176716 w 9854218"/>
              <a:gd name="connsiteY49" fmla="*/ 10054680 h 10287000"/>
              <a:gd name="connsiteX50" fmla="*/ 4239982 w 9854218"/>
              <a:gd name="connsiteY50" fmla="*/ 10105293 h 10287000"/>
              <a:gd name="connsiteX51" fmla="*/ 4341209 w 9854218"/>
              <a:gd name="connsiteY51" fmla="*/ 10181214 h 10287000"/>
              <a:gd name="connsiteX52" fmla="*/ 4328555 w 9854218"/>
              <a:gd name="connsiteY52" fmla="*/ 10143254 h 10287000"/>
              <a:gd name="connsiteX53" fmla="*/ 4328555 w 9854218"/>
              <a:gd name="connsiteY53" fmla="*/ 10155908 h 10287000"/>
              <a:gd name="connsiteX54" fmla="*/ 4391824 w 9854218"/>
              <a:gd name="connsiteY54" fmla="*/ 10181214 h 10287000"/>
              <a:gd name="connsiteX55" fmla="*/ 4391824 w 9854218"/>
              <a:gd name="connsiteY55" fmla="*/ 10168562 h 10287000"/>
              <a:gd name="connsiteX56" fmla="*/ 4404478 w 9854218"/>
              <a:gd name="connsiteY56" fmla="*/ 10168562 h 10287000"/>
              <a:gd name="connsiteX57" fmla="*/ 4404476 w 9854218"/>
              <a:gd name="connsiteY57" fmla="*/ 10181214 h 10287000"/>
              <a:gd name="connsiteX58" fmla="*/ 4417134 w 9854218"/>
              <a:gd name="connsiteY58" fmla="*/ 10193868 h 10287000"/>
              <a:gd name="connsiteX59" fmla="*/ 4504126 w 9854218"/>
              <a:gd name="connsiteY59" fmla="*/ 10246062 h 10287000"/>
              <a:gd name="connsiteX60" fmla="*/ 4555560 w 9854218"/>
              <a:gd name="connsiteY60" fmla="*/ 10287000 h 10287000"/>
              <a:gd name="connsiteX61" fmla="*/ 4347497 w 9854218"/>
              <a:gd name="connsiteY61" fmla="*/ 10287000 h 10287000"/>
              <a:gd name="connsiteX62" fmla="*/ 4341209 w 9854218"/>
              <a:gd name="connsiteY62" fmla="*/ 10282443 h 10287000"/>
              <a:gd name="connsiteX63" fmla="*/ 4088141 w 9854218"/>
              <a:gd name="connsiteY63" fmla="*/ 10105290 h 10287000"/>
              <a:gd name="connsiteX64" fmla="*/ 4088136 w 9854218"/>
              <a:gd name="connsiteY64" fmla="*/ 10092639 h 10287000"/>
              <a:gd name="connsiteX65" fmla="*/ 3974256 w 9854218"/>
              <a:gd name="connsiteY65" fmla="*/ 10004066 h 10287000"/>
              <a:gd name="connsiteX66" fmla="*/ 3974255 w 9854218"/>
              <a:gd name="connsiteY66" fmla="*/ 9991412 h 10287000"/>
              <a:gd name="connsiteX67" fmla="*/ 3974255 w 9854218"/>
              <a:gd name="connsiteY67" fmla="*/ 9978758 h 10287000"/>
              <a:gd name="connsiteX68" fmla="*/ 3961601 w 9854218"/>
              <a:gd name="connsiteY68" fmla="*/ 9966108 h 10287000"/>
              <a:gd name="connsiteX69" fmla="*/ 3948950 w 9854218"/>
              <a:gd name="connsiteY69" fmla="*/ 9953451 h 10287000"/>
              <a:gd name="connsiteX70" fmla="*/ 3936296 w 9854218"/>
              <a:gd name="connsiteY70" fmla="*/ 9953451 h 10287000"/>
              <a:gd name="connsiteX71" fmla="*/ 3948952 w 9854218"/>
              <a:gd name="connsiteY71" fmla="*/ 9966104 h 10287000"/>
              <a:gd name="connsiteX72" fmla="*/ 3961601 w 9854218"/>
              <a:gd name="connsiteY72" fmla="*/ 9978758 h 10287000"/>
              <a:gd name="connsiteX73" fmla="*/ 3948950 w 9854218"/>
              <a:gd name="connsiteY73" fmla="*/ 9991412 h 10287000"/>
              <a:gd name="connsiteX74" fmla="*/ 3835066 w 9854218"/>
              <a:gd name="connsiteY74" fmla="*/ 9890182 h 10287000"/>
              <a:gd name="connsiteX75" fmla="*/ 3822413 w 9854218"/>
              <a:gd name="connsiteY75" fmla="*/ 9877532 h 10287000"/>
              <a:gd name="connsiteX76" fmla="*/ 3822416 w 9854218"/>
              <a:gd name="connsiteY76" fmla="*/ 9864876 h 10287000"/>
              <a:gd name="connsiteX77" fmla="*/ 3784448 w 9854218"/>
              <a:gd name="connsiteY77" fmla="*/ 9826916 h 10287000"/>
              <a:gd name="connsiteX78" fmla="*/ 3771798 w 9854218"/>
              <a:gd name="connsiteY78" fmla="*/ 9814262 h 10287000"/>
              <a:gd name="connsiteX79" fmla="*/ 3759143 w 9854218"/>
              <a:gd name="connsiteY79" fmla="*/ 9788956 h 10287000"/>
              <a:gd name="connsiteX80" fmla="*/ 3733834 w 9854218"/>
              <a:gd name="connsiteY80" fmla="*/ 9763647 h 10287000"/>
              <a:gd name="connsiteX81" fmla="*/ 3721186 w 9854218"/>
              <a:gd name="connsiteY81" fmla="*/ 9763647 h 10287000"/>
              <a:gd name="connsiteX82" fmla="*/ 3721187 w 9854218"/>
              <a:gd name="connsiteY82" fmla="*/ 9750996 h 10287000"/>
              <a:gd name="connsiteX83" fmla="*/ 3708530 w 9854218"/>
              <a:gd name="connsiteY83" fmla="*/ 9750996 h 10287000"/>
              <a:gd name="connsiteX84" fmla="*/ 3670571 w 9854218"/>
              <a:gd name="connsiteY84" fmla="*/ 9713032 h 10287000"/>
              <a:gd name="connsiteX85" fmla="*/ 3683226 w 9854218"/>
              <a:gd name="connsiteY85" fmla="*/ 9713036 h 10287000"/>
              <a:gd name="connsiteX86" fmla="*/ 3556684 w 9854218"/>
              <a:gd name="connsiteY86" fmla="*/ 9573846 h 10287000"/>
              <a:gd name="connsiteX87" fmla="*/ 3534545 w 9854218"/>
              <a:gd name="connsiteY87" fmla="*/ 9589662 h 10287000"/>
              <a:gd name="connsiteX88" fmla="*/ 3531419 w 9854218"/>
              <a:gd name="connsiteY88" fmla="*/ 9586632 h 10287000"/>
              <a:gd name="connsiteX89" fmla="*/ 3531382 w 9854218"/>
              <a:gd name="connsiteY89" fmla="*/ 9586500 h 10287000"/>
              <a:gd name="connsiteX90" fmla="*/ 3531150 w 9854218"/>
              <a:gd name="connsiteY90" fmla="*/ 9586378 h 10287000"/>
              <a:gd name="connsiteX91" fmla="*/ 3504850 w 9854218"/>
              <a:gd name="connsiteY91" fmla="*/ 9560888 h 10287000"/>
              <a:gd name="connsiteX92" fmla="*/ 3506069 w 9854218"/>
              <a:gd name="connsiteY92" fmla="*/ 9561192 h 10287000"/>
              <a:gd name="connsiteX93" fmla="*/ 3518723 w 9854218"/>
              <a:gd name="connsiteY93" fmla="*/ 9573846 h 10287000"/>
              <a:gd name="connsiteX94" fmla="*/ 3531383 w 9854218"/>
              <a:gd name="connsiteY94" fmla="*/ 9573843 h 10287000"/>
              <a:gd name="connsiteX95" fmla="*/ 3531382 w 9854218"/>
              <a:gd name="connsiteY95" fmla="*/ 9561192 h 10287000"/>
              <a:gd name="connsiteX96" fmla="*/ 3468112 w 9854218"/>
              <a:gd name="connsiteY96" fmla="*/ 9497925 h 10287000"/>
              <a:gd name="connsiteX97" fmla="*/ 3468112 w 9854218"/>
              <a:gd name="connsiteY97" fmla="*/ 9485268 h 10287000"/>
              <a:gd name="connsiteX98" fmla="*/ 3442808 w 9854218"/>
              <a:gd name="connsiteY98" fmla="*/ 9459964 h 10287000"/>
              <a:gd name="connsiteX99" fmla="*/ 3417497 w 9854218"/>
              <a:gd name="connsiteY99" fmla="*/ 9434658 h 10287000"/>
              <a:gd name="connsiteX100" fmla="*/ 3012584 w 9854218"/>
              <a:gd name="connsiteY100" fmla="*/ 9257510 h 10287000"/>
              <a:gd name="connsiteX101" fmla="*/ 3022073 w 9854218"/>
              <a:gd name="connsiteY101" fmla="*/ 9268580 h 10287000"/>
              <a:gd name="connsiteX102" fmla="*/ 3019736 w 9854218"/>
              <a:gd name="connsiteY102" fmla="*/ 9268968 h 10287000"/>
              <a:gd name="connsiteX103" fmla="*/ 2847455 w 9854218"/>
              <a:gd name="connsiteY103" fmla="*/ 8968533 h 10287000"/>
              <a:gd name="connsiteX104" fmla="*/ 2865802 w 9854218"/>
              <a:gd name="connsiteY104" fmla="*/ 8997360 h 10287000"/>
              <a:gd name="connsiteX105" fmla="*/ 2872247 w 9854218"/>
              <a:gd name="connsiteY105" fmla="*/ 9005182 h 10287000"/>
              <a:gd name="connsiteX106" fmla="*/ 2871814 w 9854218"/>
              <a:gd name="connsiteY106" fmla="*/ 9000681 h 10287000"/>
              <a:gd name="connsiteX107" fmla="*/ 2879723 w 9854218"/>
              <a:gd name="connsiteY107" fmla="*/ 8999692 h 10287000"/>
              <a:gd name="connsiteX108" fmla="*/ 2882327 w 9854218"/>
              <a:gd name="connsiteY108" fmla="*/ 9000148 h 10287000"/>
              <a:gd name="connsiteX109" fmla="*/ 2884188 w 9854218"/>
              <a:gd name="connsiteY109" fmla="*/ 8997712 h 10287000"/>
              <a:gd name="connsiteX110" fmla="*/ 2885808 w 9854218"/>
              <a:gd name="connsiteY110" fmla="*/ 9000758 h 10287000"/>
              <a:gd name="connsiteX111" fmla="*/ 2887631 w 9854218"/>
              <a:gd name="connsiteY111" fmla="*/ 9001077 h 10287000"/>
              <a:gd name="connsiteX112" fmla="*/ 2886047 w 9854218"/>
              <a:gd name="connsiteY112" fmla="*/ 8991786 h 10287000"/>
              <a:gd name="connsiteX113" fmla="*/ 2850458 w 9854218"/>
              <a:gd name="connsiteY113" fmla="*/ 8972210 h 10287000"/>
              <a:gd name="connsiteX114" fmla="*/ 1261949 w 9854218"/>
              <a:gd name="connsiteY114" fmla="*/ 8958783 h 10287000"/>
              <a:gd name="connsiteX115" fmla="*/ 1262372 w 9854218"/>
              <a:gd name="connsiteY115" fmla="*/ 8959339 h 10287000"/>
              <a:gd name="connsiteX116" fmla="*/ 1268305 w 9854218"/>
              <a:gd name="connsiteY116" fmla="*/ 8971461 h 10287000"/>
              <a:gd name="connsiteX117" fmla="*/ 1119280 w 9854218"/>
              <a:gd name="connsiteY117" fmla="*/ 8584360 h 10287000"/>
              <a:gd name="connsiteX118" fmla="*/ 1121074 w 9854218"/>
              <a:gd name="connsiteY118" fmla="*/ 8598870 h 10287000"/>
              <a:gd name="connsiteX119" fmla="*/ 1126753 w 9854218"/>
              <a:gd name="connsiteY119" fmla="*/ 8617364 h 10287000"/>
              <a:gd name="connsiteX120" fmla="*/ 1143751 w 9854218"/>
              <a:gd name="connsiteY120" fmla="*/ 8637490 h 10287000"/>
              <a:gd name="connsiteX121" fmla="*/ 1153022 w 9854218"/>
              <a:gd name="connsiteY121" fmla="*/ 8652268 h 10287000"/>
              <a:gd name="connsiteX122" fmla="*/ 993608 w 9854218"/>
              <a:gd name="connsiteY122" fmla="*/ 8563178 h 10287000"/>
              <a:gd name="connsiteX123" fmla="*/ 1001044 w 9854218"/>
              <a:gd name="connsiteY123" fmla="*/ 8596624 h 10287000"/>
              <a:gd name="connsiteX124" fmla="*/ 978638 w 9854218"/>
              <a:gd name="connsiteY124" fmla="*/ 8602694 h 10287000"/>
              <a:gd name="connsiteX125" fmla="*/ 1150966 w 9854218"/>
              <a:gd name="connsiteY125" fmla="*/ 8955356 h 10287000"/>
              <a:gd name="connsiteX126" fmla="*/ 1276850 w 9854218"/>
              <a:gd name="connsiteY126" fmla="*/ 9118520 h 10287000"/>
              <a:gd name="connsiteX127" fmla="*/ 1396570 w 9854218"/>
              <a:gd name="connsiteY127" fmla="*/ 9312225 h 10287000"/>
              <a:gd name="connsiteX128" fmla="*/ 1368209 w 9854218"/>
              <a:gd name="connsiteY128" fmla="*/ 9242926 h 10287000"/>
              <a:gd name="connsiteX129" fmla="*/ 1398731 w 9854218"/>
              <a:gd name="connsiteY129" fmla="*/ 9249092 h 10287000"/>
              <a:gd name="connsiteX130" fmla="*/ 1424824 w 9854218"/>
              <a:gd name="connsiteY130" fmla="*/ 9291942 h 10287000"/>
              <a:gd name="connsiteX131" fmla="*/ 1437577 w 9854218"/>
              <a:gd name="connsiteY131" fmla="*/ 9308271 h 10287000"/>
              <a:gd name="connsiteX132" fmla="*/ 1426300 w 9854218"/>
              <a:gd name="connsiteY132" fmla="*/ 9285122 h 10287000"/>
              <a:gd name="connsiteX133" fmla="*/ 1398241 w 9854218"/>
              <a:gd name="connsiteY133" fmla="*/ 9227676 h 10287000"/>
              <a:gd name="connsiteX134" fmla="*/ 1399595 w 9854218"/>
              <a:gd name="connsiteY134" fmla="*/ 9228166 h 10287000"/>
              <a:gd name="connsiteX135" fmla="*/ 1358393 w 9854218"/>
              <a:gd name="connsiteY135" fmla="*/ 9155026 h 10287000"/>
              <a:gd name="connsiteX136" fmla="*/ 1318568 w 9854218"/>
              <a:gd name="connsiteY136" fmla="*/ 9121743 h 10287000"/>
              <a:gd name="connsiteX137" fmla="*/ 1090468 w 9854218"/>
              <a:gd name="connsiteY137" fmla="*/ 8795770 h 10287000"/>
              <a:gd name="connsiteX138" fmla="*/ 1049606 w 9854218"/>
              <a:gd name="connsiteY138" fmla="*/ 8674704 h 10287000"/>
              <a:gd name="connsiteX139" fmla="*/ 978416 w 9854218"/>
              <a:gd name="connsiteY139" fmla="*/ 8451138 h 10287000"/>
              <a:gd name="connsiteX140" fmla="*/ 1037843 w 9854218"/>
              <a:gd name="connsiteY140" fmla="*/ 8567380 h 10287000"/>
              <a:gd name="connsiteX141" fmla="*/ 1119851 w 9854218"/>
              <a:gd name="connsiteY141" fmla="*/ 8712051 h 10287000"/>
              <a:gd name="connsiteX142" fmla="*/ 1205537 w 9854218"/>
              <a:gd name="connsiteY142" fmla="*/ 8846256 h 10287000"/>
              <a:gd name="connsiteX143" fmla="*/ 1261949 w 9854218"/>
              <a:gd name="connsiteY143" fmla="*/ 8958783 h 10287000"/>
              <a:gd name="connsiteX144" fmla="*/ 1258343 w 9854218"/>
              <a:gd name="connsiteY144" fmla="*/ 8954042 h 10287000"/>
              <a:gd name="connsiteX145" fmla="*/ 1262950 w 9854218"/>
              <a:gd name="connsiteY145" fmla="*/ 8994056 h 10287000"/>
              <a:gd name="connsiteX146" fmla="*/ 1312042 w 9854218"/>
              <a:gd name="connsiteY146" fmla="*/ 9048618 h 10287000"/>
              <a:gd name="connsiteX147" fmla="*/ 1391452 w 9854218"/>
              <a:gd name="connsiteY147" fmla="*/ 9183502 h 10287000"/>
              <a:gd name="connsiteX148" fmla="*/ 1424497 w 9854218"/>
              <a:gd name="connsiteY148" fmla="*/ 9237166 h 10287000"/>
              <a:gd name="connsiteX149" fmla="*/ 1429220 w 9854218"/>
              <a:gd name="connsiteY149" fmla="*/ 9238874 h 10287000"/>
              <a:gd name="connsiteX150" fmla="*/ 1434265 w 9854218"/>
              <a:gd name="connsiteY150" fmla="*/ 9245505 h 10287000"/>
              <a:gd name="connsiteX151" fmla="*/ 1456580 w 9854218"/>
              <a:gd name="connsiteY151" fmla="*/ 9264154 h 10287000"/>
              <a:gd name="connsiteX152" fmla="*/ 1488438 w 9854218"/>
              <a:gd name="connsiteY152" fmla="*/ 9290780 h 10287000"/>
              <a:gd name="connsiteX153" fmla="*/ 1565340 w 9854218"/>
              <a:gd name="connsiteY153" fmla="*/ 9409190 h 10287000"/>
              <a:gd name="connsiteX154" fmla="*/ 1632974 w 9854218"/>
              <a:gd name="connsiteY154" fmla="*/ 9506312 h 10287000"/>
              <a:gd name="connsiteX155" fmla="*/ 1626314 w 9854218"/>
              <a:gd name="connsiteY155" fmla="*/ 9514282 h 10287000"/>
              <a:gd name="connsiteX156" fmla="*/ 1611659 w 9854218"/>
              <a:gd name="connsiteY156" fmla="*/ 9502036 h 10287000"/>
              <a:gd name="connsiteX157" fmla="*/ 1622706 w 9854218"/>
              <a:gd name="connsiteY157" fmla="*/ 9517170 h 10287000"/>
              <a:gd name="connsiteX158" fmla="*/ 1722140 w 9854218"/>
              <a:gd name="connsiteY158" fmla="*/ 9649444 h 10287000"/>
              <a:gd name="connsiteX159" fmla="*/ 1730402 w 9854218"/>
              <a:gd name="connsiteY159" fmla="*/ 9674248 h 10287000"/>
              <a:gd name="connsiteX160" fmla="*/ 1740784 w 9854218"/>
              <a:gd name="connsiteY160" fmla="*/ 9674248 h 10287000"/>
              <a:gd name="connsiteX161" fmla="*/ 1722140 w 9854218"/>
              <a:gd name="connsiteY161" fmla="*/ 9649444 h 10287000"/>
              <a:gd name="connsiteX162" fmla="*/ 1720020 w 9854218"/>
              <a:gd name="connsiteY162" fmla="*/ 9643092 h 10287000"/>
              <a:gd name="connsiteX163" fmla="*/ 1740782 w 9854218"/>
              <a:gd name="connsiteY163" fmla="*/ 9653476 h 10287000"/>
              <a:gd name="connsiteX164" fmla="*/ 1751162 w 9854218"/>
              <a:gd name="connsiteY164" fmla="*/ 9653476 h 10287000"/>
              <a:gd name="connsiteX165" fmla="*/ 1657852 w 9854218"/>
              <a:gd name="connsiteY165" fmla="*/ 9494422 h 10287000"/>
              <a:gd name="connsiteX166" fmla="*/ 1559534 w 9854218"/>
              <a:gd name="connsiteY166" fmla="*/ 9346986 h 10287000"/>
              <a:gd name="connsiteX167" fmla="*/ 1533182 w 9854218"/>
              <a:gd name="connsiteY167" fmla="*/ 9310760 h 10287000"/>
              <a:gd name="connsiteX168" fmla="*/ 1529318 w 9854218"/>
              <a:gd name="connsiteY168" fmla="*/ 9301674 h 10287000"/>
              <a:gd name="connsiteX169" fmla="*/ 1470966 w 9854218"/>
              <a:gd name="connsiteY169" fmla="*/ 9214168 h 10287000"/>
              <a:gd name="connsiteX170" fmla="*/ 1207861 w 9854218"/>
              <a:gd name="connsiteY170" fmla="*/ 8762176 h 10287000"/>
              <a:gd name="connsiteX171" fmla="*/ 1204783 w 9854218"/>
              <a:gd name="connsiteY171" fmla="*/ 8758706 h 10287000"/>
              <a:gd name="connsiteX172" fmla="*/ 1182371 w 9854218"/>
              <a:gd name="connsiteY172" fmla="*/ 8745052 h 10287000"/>
              <a:gd name="connsiteX173" fmla="*/ 1016593 w 9854218"/>
              <a:gd name="connsiteY173" fmla="*/ 8501824 h 10287000"/>
              <a:gd name="connsiteX174" fmla="*/ 490171 w 9854218"/>
              <a:gd name="connsiteY174" fmla="*/ 8276537 h 10287000"/>
              <a:gd name="connsiteX175" fmla="*/ 583148 w 9854218"/>
              <a:gd name="connsiteY175" fmla="*/ 8524276 h 10287000"/>
              <a:gd name="connsiteX176" fmla="*/ 676129 w 9854218"/>
              <a:gd name="connsiteY176" fmla="*/ 8689440 h 10287000"/>
              <a:gd name="connsiteX177" fmla="*/ 676130 w 9854218"/>
              <a:gd name="connsiteY177" fmla="*/ 8699764 h 10287000"/>
              <a:gd name="connsiteX178" fmla="*/ 686459 w 9854218"/>
              <a:gd name="connsiteY178" fmla="*/ 8710083 h 10287000"/>
              <a:gd name="connsiteX179" fmla="*/ 676129 w 9854218"/>
              <a:gd name="connsiteY179" fmla="*/ 8720408 h 10287000"/>
              <a:gd name="connsiteX180" fmla="*/ 670654 w 9854218"/>
              <a:gd name="connsiteY180" fmla="*/ 8717283 h 10287000"/>
              <a:gd name="connsiteX181" fmla="*/ 665797 w 9854218"/>
              <a:gd name="connsiteY181" fmla="*/ 8710086 h 10287000"/>
              <a:gd name="connsiteX182" fmla="*/ 667090 w 9854218"/>
              <a:gd name="connsiteY182" fmla="*/ 8715248 h 10287000"/>
              <a:gd name="connsiteX183" fmla="*/ 670654 w 9854218"/>
              <a:gd name="connsiteY183" fmla="*/ 8717283 h 10287000"/>
              <a:gd name="connsiteX184" fmla="*/ 689203 w 9854218"/>
              <a:gd name="connsiteY184" fmla="*/ 8744763 h 10287000"/>
              <a:gd name="connsiteX185" fmla="*/ 769109 w 9854218"/>
              <a:gd name="connsiteY185" fmla="*/ 8885571 h 10287000"/>
              <a:gd name="connsiteX186" fmla="*/ 779438 w 9854218"/>
              <a:gd name="connsiteY186" fmla="*/ 8906216 h 10287000"/>
              <a:gd name="connsiteX187" fmla="*/ 789766 w 9854218"/>
              <a:gd name="connsiteY187" fmla="*/ 8916537 h 10287000"/>
              <a:gd name="connsiteX188" fmla="*/ 779437 w 9854218"/>
              <a:gd name="connsiteY188" fmla="*/ 8937183 h 10287000"/>
              <a:gd name="connsiteX189" fmla="*/ 820763 w 9854218"/>
              <a:gd name="connsiteY189" fmla="*/ 8988798 h 10287000"/>
              <a:gd name="connsiteX190" fmla="*/ 1027381 w 9854218"/>
              <a:gd name="connsiteY190" fmla="*/ 9401702 h 10287000"/>
              <a:gd name="connsiteX191" fmla="*/ 1017050 w 9854218"/>
              <a:gd name="connsiteY191" fmla="*/ 9387624 h 10287000"/>
              <a:gd name="connsiteX192" fmla="*/ 1017052 w 9854218"/>
              <a:gd name="connsiteY192" fmla="*/ 9381058 h 10287000"/>
              <a:gd name="connsiteX193" fmla="*/ 1006720 w 9854218"/>
              <a:gd name="connsiteY193" fmla="*/ 9370732 h 10287000"/>
              <a:gd name="connsiteX194" fmla="*/ 1013176 w 9854218"/>
              <a:gd name="connsiteY194" fmla="*/ 9382348 h 10287000"/>
              <a:gd name="connsiteX195" fmla="*/ 1017050 w 9854218"/>
              <a:gd name="connsiteY195" fmla="*/ 9387624 h 10287000"/>
              <a:gd name="connsiteX196" fmla="*/ 1017052 w 9854218"/>
              <a:gd name="connsiteY196" fmla="*/ 9391383 h 10287000"/>
              <a:gd name="connsiteX197" fmla="*/ 1027381 w 9854218"/>
              <a:gd name="connsiteY197" fmla="*/ 9412026 h 10287000"/>
              <a:gd name="connsiteX198" fmla="*/ 1017050 w 9854218"/>
              <a:gd name="connsiteY198" fmla="*/ 9412023 h 10287000"/>
              <a:gd name="connsiteX199" fmla="*/ 1008526 w 9854218"/>
              <a:gd name="connsiteY199" fmla="*/ 9402288 h 10287000"/>
              <a:gd name="connsiteX200" fmla="*/ 1006721 w 9854218"/>
              <a:gd name="connsiteY200" fmla="*/ 9391380 h 10287000"/>
              <a:gd name="connsiteX201" fmla="*/ 1008011 w 9854218"/>
              <a:gd name="connsiteY201" fmla="*/ 9401702 h 10287000"/>
              <a:gd name="connsiteX202" fmla="*/ 1008526 w 9854218"/>
              <a:gd name="connsiteY202" fmla="*/ 9402288 h 10287000"/>
              <a:gd name="connsiteX203" fmla="*/ 1010108 w 9854218"/>
              <a:gd name="connsiteY203" fmla="*/ 9411862 h 10287000"/>
              <a:gd name="connsiteX204" fmla="*/ 1037713 w 9854218"/>
              <a:gd name="connsiteY204" fmla="*/ 9494604 h 10287000"/>
              <a:gd name="connsiteX205" fmla="*/ 1037713 w 9854218"/>
              <a:gd name="connsiteY205" fmla="*/ 9484281 h 10287000"/>
              <a:gd name="connsiteX206" fmla="*/ 1048045 w 9854218"/>
              <a:gd name="connsiteY206" fmla="*/ 9504932 h 10287000"/>
              <a:gd name="connsiteX207" fmla="*/ 1058374 w 9854218"/>
              <a:gd name="connsiteY207" fmla="*/ 9515253 h 10287000"/>
              <a:gd name="connsiteX208" fmla="*/ 1192031 w 9854218"/>
              <a:gd name="connsiteY208" fmla="*/ 9708318 h 10287000"/>
              <a:gd name="connsiteX209" fmla="*/ 1234499 w 9854218"/>
              <a:gd name="connsiteY209" fmla="*/ 9744334 h 10287000"/>
              <a:gd name="connsiteX210" fmla="*/ 1235294 w 9854218"/>
              <a:gd name="connsiteY210" fmla="*/ 9747512 h 10287000"/>
              <a:gd name="connsiteX211" fmla="*/ 1244333 w 9854218"/>
              <a:gd name="connsiteY211" fmla="*/ 9752674 h 10287000"/>
              <a:gd name="connsiteX212" fmla="*/ 1254664 w 9854218"/>
              <a:gd name="connsiteY212" fmla="*/ 9762996 h 10287000"/>
              <a:gd name="connsiteX213" fmla="*/ 1306319 w 9854218"/>
              <a:gd name="connsiteY213" fmla="*/ 9814608 h 10287000"/>
              <a:gd name="connsiteX214" fmla="*/ 1285657 w 9854218"/>
              <a:gd name="connsiteY214" fmla="*/ 9804284 h 10287000"/>
              <a:gd name="connsiteX215" fmla="*/ 1285658 w 9854218"/>
              <a:gd name="connsiteY215" fmla="*/ 9814605 h 10287000"/>
              <a:gd name="connsiteX216" fmla="*/ 1285658 w 9854218"/>
              <a:gd name="connsiteY216" fmla="*/ 9824930 h 10287000"/>
              <a:gd name="connsiteX217" fmla="*/ 1275326 w 9854218"/>
              <a:gd name="connsiteY217" fmla="*/ 9814608 h 10287000"/>
              <a:gd name="connsiteX218" fmla="*/ 1316651 w 9854218"/>
              <a:gd name="connsiteY218" fmla="*/ 9886866 h 10287000"/>
              <a:gd name="connsiteX219" fmla="*/ 1316650 w 9854218"/>
              <a:gd name="connsiteY219" fmla="*/ 9876544 h 10287000"/>
              <a:gd name="connsiteX220" fmla="*/ 1306318 w 9854218"/>
              <a:gd name="connsiteY220" fmla="*/ 9866220 h 10287000"/>
              <a:gd name="connsiteX221" fmla="*/ 1306319 w 9854218"/>
              <a:gd name="connsiteY221" fmla="*/ 9855898 h 10287000"/>
              <a:gd name="connsiteX222" fmla="*/ 1326982 w 9854218"/>
              <a:gd name="connsiteY222" fmla="*/ 9876542 h 10287000"/>
              <a:gd name="connsiteX223" fmla="*/ 1337312 w 9854218"/>
              <a:gd name="connsiteY223" fmla="*/ 9886866 h 10287000"/>
              <a:gd name="connsiteX224" fmla="*/ 1430291 w 9854218"/>
              <a:gd name="connsiteY224" fmla="*/ 9959126 h 10287000"/>
              <a:gd name="connsiteX225" fmla="*/ 1502608 w 9854218"/>
              <a:gd name="connsiteY225" fmla="*/ 10082998 h 10287000"/>
              <a:gd name="connsiteX226" fmla="*/ 1512938 w 9854218"/>
              <a:gd name="connsiteY226" fmla="*/ 10082996 h 10287000"/>
              <a:gd name="connsiteX227" fmla="*/ 1523272 w 9854218"/>
              <a:gd name="connsiteY227" fmla="*/ 10103638 h 10287000"/>
              <a:gd name="connsiteX228" fmla="*/ 1533602 w 9854218"/>
              <a:gd name="connsiteY228" fmla="*/ 10103642 h 10287000"/>
              <a:gd name="connsiteX229" fmla="*/ 1533600 w 9854218"/>
              <a:gd name="connsiteY229" fmla="*/ 10113968 h 10287000"/>
              <a:gd name="connsiteX230" fmla="*/ 1585256 w 9854218"/>
              <a:gd name="connsiteY230" fmla="*/ 10175902 h 10287000"/>
              <a:gd name="connsiteX231" fmla="*/ 1554262 w 9854218"/>
              <a:gd name="connsiteY231" fmla="*/ 10165578 h 10287000"/>
              <a:gd name="connsiteX232" fmla="*/ 1554263 w 9854218"/>
              <a:gd name="connsiteY232" fmla="*/ 10175902 h 10287000"/>
              <a:gd name="connsiteX233" fmla="*/ 1543931 w 9854218"/>
              <a:gd name="connsiteY233" fmla="*/ 10165578 h 10287000"/>
              <a:gd name="connsiteX234" fmla="*/ 1533600 w 9854218"/>
              <a:gd name="connsiteY234" fmla="*/ 10165576 h 10287000"/>
              <a:gd name="connsiteX235" fmla="*/ 1605917 w 9854218"/>
              <a:gd name="connsiteY235" fmla="*/ 10248159 h 10287000"/>
              <a:gd name="connsiteX236" fmla="*/ 1626580 w 9854218"/>
              <a:gd name="connsiteY236" fmla="*/ 10227514 h 10287000"/>
              <a:gd name="connsiteX237" fmla="*/ 1705960 w 9854218"/>
              <a:gd name="connsiteY237" fmla="*/ 10287000 h 10287000"/>
              <a:gd name="connsiteX238" fmla="*/ 1582592 w 9854218"/>
              <a:gd name="connsiteY238" fmla="*/ 10287000 h 10287000"/>
              <a:gd name="connsiteX239" fmla="*/ 1543931 w 9854218"/>
              <a:gd name="connsiteY239" fmla="*/ 10237834 h 10287000"/>
              <a:gd name="connsiteX240" fmla="*/ 1430290 w 9854218"/>
              <a:gd name="connsiteY240" fmla="*/ 10093320 h 10287000"/>
              <a:gd name="connsiteX241" fmla="*/ 1275326 w 9854218"/>
              <a:gd name="connsiteY241" fmla="*/ 9897192 h 10287000"/>
              <a:gd name="connsiteX242" fmla="*/ 1151353 w 9854218"/>
              <a:gd name="connsiteY242" fmla="*/ 9690735 h 10287000"/>
              <a:gd name="connsiteX243" fmla="*/ 1048043 w 9854218"/>
              <a:gd name="connsiteY243" fmla="*/ 9525574 h 10287000"/>
              <a:gd name="connsiteX244" fmla="*/ 1037713 w 9854218"/>
              <a:gd name="connsiteY244" fmla="*/ 9515253 h 10287000"/>
              <a:gd name="connsiteX245" fmla="*/ 1027381 w 9854218"/>
              <a:gd name="connsiteY245" fmla="*/ 9494606 h 10287000"/>
              <a:gd name="connsiteX246" fmla="*/ 800101 w 9854218"/>
              <a:gd name="connsiteY246" fmla="*/ 9071380 h 10287000"/>
              <a:gd name="connsiteX247" fmla="*/ 769108 w 9854218"/>
              <a:gd name="connsiteY247" fmla="*/ 9102346 h 10287000"/>
              <a:gd name="connsiteX248" fmla="*/ 717451 w 9854218"/>
              <a:gd name="connsiteY248" fmla="*/ 9050732 h 10287000"/>
              <a:gd name="connsiteX249" fmla="*/ 727783 w 9854218"/>
              <a:gd name="connsiteY249" fmla="*/ 9071378 h 10287000"/>
              <a:gd name="connsiteX250" fmla="*/ 738113 w 9854218"/>
              <a:gd name="connsiteY250" fmla="*/ 9092025 h 10287000"/>
              <a:gd name="connsiteX251" fmla="*/ 727783 w 9854218"/>
              <a:gd name="connsiteY251" fmla="*/ 9081700 h 10287000"/>
              <a:gd name="connsiteX252" fmla="*/ 717451 w 9854218"/>
              <a:gd name="connsiteY252" fmla="*/ 9061056 h 10287000"/>
              <a:gd name="connsiteX253" fmla="*/ 707120 w 9854218"/>
              <a:gd name="connsiteY253" fmla="*/ 9050734 h 10287000"/>
              <a:gd name="connsiteX254" fmla="*/ 676127 w 9854218"/>
              <a:gd name="connsiteY254" fmla="*/ 8999120 h 10287000"/>
              <a:gd name="connsiteX255" fmla="*/ 676127 w 9854218"/>
              <a:gd name="connsiteY255" fmla="*/ 8988798 h 10287000"/>
              <a:gd name="connsiteX256" fmla="*/ 676127 w 9854218"/>
              <a:gd name="connsiteY256" fmla="*/ 8978474 h 10287000"/>
              <a:gd name="connsiteX257" fmla="*/ 683875 w 9854218"/>
              <a:gd name="connsiteY257" fmla="*/ 8978474 h 10287000"/>
              <a:gd name="connsiteX258" fmla="*/ 686458 w 9854218"/>
              <a:gd name="connsiteY258" fmla="*/ 8988795 h 10287000"/>
              <a:gd name="connsiteX259" fmla="*/ 686458 w 9854218"/>
              <a:gd name="connsiteY259" fmla="*/ 8978476 h 10287000"/>
              <a:gd name="connsiteX260" fmla="*/ 683875 w 9854218"/>
              <a:gd name="connsiteY260" fmla="*/ 8978474 h 10287000"/>
              <a:gd name="connsiteX261" fmla="*/ 681293 w 9854218"/>
              <a:gd name="connsiteY261" fmla="*/ 8968152 h 10287000"/>
              <a:gd name="connsiteX262" fmla="*/ 676127 w 9854218"/>
              <a:gd name="connsiteY262" fmla="*/ 8947508 h 10287000"/>
              <a:gd name="connsiteX263" fmla="*/ 727783 w 9854218"/>
              <a:gd name="connsiteY263" fmla="*/ 8978476 h 10287000"/>
              <a:gd name="connsiteX264" fmla="*/ 707120 w 9854218"/>
              <a:gd name="connsiteY264" fmla="*/ 8895896 h 10287000"/>
              <a:gd name="connsiteX265" fmla="*/ 717451 w 9854218"/>
              <a:gd name="connsiteY265" fmla="*/ 8885571 h 10287000"/>
              <a:gd name="connsiteX266" fmla="*/ 707120 w 9854218"/>
              <a:gd name="connsiteY266" fmla="*/ 8885571 h 10287000"/>
              <a:gd name="connsiteX267" fmla="*/ 707120 w 9854218"/>
              <a:gd name="connsiteY267" fmla="*/ 8875250 h 10287000"/>
              <a:gd name="connsiteX268" fmla="*/ 707122 w 9854218"/>
              <a:gd name="connsiteY268" fmla="*/ 8864925 h 10287000"/>
              <a:gd name="connsiteX269" fmla="*/ 707123 w 9854218"/>
              <a:gd name="connsiteY269" fmla="*/ 8854604 h 10287000"/>
              <a:gd name="connsiteX270" fmla="*/ 645137 w 9854218"/>
              <a:gd name="connsiteY270" fmla="*/ 8699764 h 10287000"/>
              <a:gd name="connsiteX271" fmla="*/ 655465 w 9854218"/>
              <a:gd name="connsiteY271" fmla="*/ 8699762 h 10287000"/>
              <a:gd name="connsiteX272" fmla="*/ 645136 w 9854218"/>
              <a:gd name="connsiteY272" fmla="*/ 8689440 h 10287000"/>
              <a:gd name="connsiteX273" fmla="*/ 624473 w 9854218"/>
              <a:gd name="connsiteY273" fmla="*/ 8658474 h 10287000"/>
              <a:gd name="connsiteX274" fmla="*/ 634804 w 9854218"/>
              <a:gd name="connsiteY274" fmla="*/ 8648150 h 10287000"/>
              <a:gd name="connsiteX275" fmla="*/ 541826 w 9854218"/>
              <a:gd name="connsiteY275" fmla="*/ 8493312 h 10287000"/>
              <a:gd name="connsiteX276" fmla="*/ 490171 w 9854218"/>
              <a:gd name="connsiteY276" fmla="*/ 8276537 h 10287000"/>
              <a:gd name="connsiteX277" fmla="*/ 806632 w 9854218"/>
              <a:gd name="connsiteY277" fmla="*/ 8255612 h 10287000"/>
              <a:gd name="connsiteX278" fmla="*/ 850907 w 9854218"/>
              <a:gd name="connsiteY278" fmla="*/ 8343801 h 10287000"/>
              <a:gd name="connsiteX279" fmla="*/ 935992 w 9854218"/>
              <a:gd name="connsiteY279" fmla="*/ 8551696 h 10287000"/>
              <a:gd name="connsiteX280" fmla="*/ 969526 w 9854218"/>
              <a:gd name="connsiteY280" fmla="*/ 8533143 h 10287000"/>
              <a:gd name="connsiteX281" fmla="*/ 976687 w 9854218"/>
              <a:gd name="connsiteY281" fmla="*/ 8531121 h 10287000"/>
              <a:gd name="connsiteX282" fmla="*/ 917057 w 9854218"/>
              <a:gd name="connsiteY282" fmla="*/ 8420546 h 10287000"/>
              <a:gd name="connsiteX283" fmla="*/ 844099 w 9854218"/>
              <a:gd name="connsiteY283" fmla="*/ 8265042 h 10287000"/>
              <a:gd name="connsiteX284" fmla="*/ 808037 w 9854218"/>
              <a:gd name="connsiteY284" fmla="*/ 8255841 h 10287000"/>
              <a:gd name="connsiteX285" fmla="*/ 2503470 w 9854218"/>
              <a:gd name="connsiteY285" fmla="*/ 8056143 h 10287000"/>
              <a:gd name="connsiteX286" fmla="*/ 2519093 w 9854218"/>
              <a:gd name="connsiteY286" fmla="*/ 8080730 h 10287000"/>
              <a:gd name="connsiteX287" fmla="*/ 2503277 w 9854218"/>
              <a:gd name="connsiteY287" fmla="*/ 8057009 h 10287000"/>
              <a:gd name="connsiteX288" fmla="*/ 2503470 w 9854218"/>
              <a:gd name="connsiteY288" fmla="*/ 8056143 h 10287000"/>
              <a:gd name="connsiteX289" fmla="*/ 764668 w 9854218"/>
              <a:gd name="connsiteY289" fmla="*/ 8009342 h 10287000"/>
              <a:gd name="connsiteX290" fmla="*/ 763417 w 9854218"/>
              <a:gd name="connsiteY290" fmla="*/ 8021661 h 10287000"/>
              <a:gd name="connsiteX291" fmla="*/ 834965 w 9854218"/>
              <a:gd name="connsiteY291" fmla="*/ 8162667 h 10287000"/>
              <a:gd name="connsiteX292" fmla="*/ 931577 w 9854218"/>
              <a:gd name="connsiteY292" fmla="*/ 8419358 h 10287000"/>
              <a:gd name="connsiteX293" fmla="*/ 948700 w 9854218"/>
              <a:gd name="connsiteY293" fmla="*/ 8415056 h 10287000"/>
              <a:gd name="connsiteX294" fmla="*/ 953120 w 9854218"/>
              <a:gd name="connsiteY294" fmla="*/ 8415668 h 10287000"/>
              <a:gd name="connsiteX295" fmla="*/ 913409 w 9854218"/>
              <a:gd name="connsiteY295" fmla="*/ 8298012 h 10287000"/>
              <a:gd name="connsiteX296" fmla="*/ 780862 w 9854218"/>
              <a:gd name="connsiteY296" fmla="*/ 8043854 h 10287000"/>
              <a:gd name="connsiteX297" fmla="*/ 2215406 w 9854218"/>
              <a:gd name="connsiteY297" fmla="*/ 7954197 h 10287000"/>
              <a:gd name="connsiteX298" fmla="*/ 2228060 w 9854218"/>
              <a:gd name="connsiteY298" fmla="*/ 7966851 h 10287000"/>
              <a:gd name="connsiteX299" fmla="*/ 2215406 w 9854218"/>
              <a:gd name="connsiteY299" fmla="*/ 7954197 h 10287000"/>
              <a:gd name="connsiteX300" fmla="*/ 3442472 w 9854218"/>
              <a:gd name="connsiteY300" fmla="*/ 7922889 h 10287000"/>
              <a:gd name="connsiteX301" fmla="*/ 3452306 w 9854218"/>
              <a:gd name="connsiteY301" fmla="*/ 7931229 h 10287000"/>
              <a:gd name="connsiteX302" fmla="*/ 3443267 w 9854218"/>
              <a:gd name="connsiteY302" fmla="*/ 7926066 h 10287000"/>
              <a:gd name="connsiteX303" fmla="*/ 633680 w 9854218"/>
              <a:gd name="connsiteY303" fmla="*/ 7810980 h 10287000"/>
              <a:gd name="connsiteX304" fmla="*/ 657178 w 9854218"/>
              <a:gd name="connsiteY304" fmla="*/ 7880034 h 10287000"/>
              <a:gd name="connsiteX305" fmla="*/ 662339 w 9854218"/>
              <a:gd name="connsiteY305" fmla="*/ 7894485 h 10287000"/>
              <a:gd name="connsiteX306" fmla="*/ 663355 w 9854218"/>
              <a:gd name="connsiteY306" fmla="*/ 7877766 h 10287000"/>
              <a:gd name="connsiteX307" fmla="*/ 662722 w 9854218"/>
              <a:gd name="connsiteY307" fmla="*/ 7877663 h 10287000"/>
              <a:gd name="connsiteX308" fmla="*/ 2312033 w 9854218"/>
              <a:gd name="connsiteY308" fmla="*/ 7793150 h 10287000"/>
              <a:gd name="connsiteX309" fmla="*/ 2329289 w 9854218"/>
              <a:gd name="connsiteY309" fmla="*/ 7802352 h 10287000"/>
              <a:gd name="connsiteX310" fmla="*/ 2329290 w 9854218"/>
              <a:gd name="connsiteY310" fmla="*/ 7827662 h 10287000"/>
              <a:gd name="connsiteX311" fmla="*/ 2316635 w 9854218"/>
              <a:gd name="connsiteY311" fmla="*/ 7815006 h 10287000"/>
              <a:gd name="connsiteX312" fmla="*/ 2316636 w 9854218"/>
              <a:gd name="connsiteY312" fmla="*/ 7802355 h 10287000"/>
              <a:gd name="connsiteX313" fmla="*/ 2296450 w 9854218"/>
              <a:gd name="connsiteY313" fmla="*/ 7769516 h 10287000"/>
              <a:gd name="connsiteX314" fmla="*/ 2303980 w 9854218"/>
              <a:gd name="connsiteY314" fmla="*/ 7777047 h 10287000"/>
              <a:gd name="connsiteX315" fmla="*/ 2312033 w 9854218"/>
              <a:gd name="connsiteY315" fmla="*/ 7793150 h 10287000"/>
              <a:gd name="connsiteX316" fmla="*/ 2308530 w 9854218"/>
              <a:gd name="connsiteY316" fmla="*/ 7791284 h 10287000"/>
              <a:gd name="connsiteX317" fmla="*/ 2276478 w 9854218"/>
              <a:gd name="connsiteY317" fmla="*/ 7726433 h 10287000"/>
              <a:gd name="connsiteX318" fmla="*/ 2286584 w 9854218"/>
              <a:gd name="connsiteY318" fmla="*/ 7751738 h 10287000"/>
              <a:gd name="connsiteX319" fmla="*/ 2296450 w 9854218"/>
              <a:gd name="connsiteY319" fmla="*/ 7769516 h 10287000"/>
              <a:gd name="connsiteX320" fmla="*/ 2291328 w 9854218"/>
              <a:gd name="connsiteY320" fmla="*/ 7764395 h 10287000"/>
              <a:gd name="connsiteX321" fmla="*/ 2266022 w 9854218"/>
              <a:gd name="connsiteY321" fmla="*/ 7726434 h 10287000"/>
              <a:gd name="connsiteX322" fmla="*/ 2268472 w 9854218"/>
              <a:gd name="connsiteY322" fmla="*/ 7706363 h 10287000"/>
              <a:gd name="connsiteX323" fmla="*/ 2278674 w 9854218"/>
              <a:gd name="connsiteY323" fmla="*/ 7726434 h 10287000"/>
              <a:gd name="connsiteX324" fmla="*/ 2276478 w 9854218"/>
              <a:gd name="connsiteY324" fmla="*/ 7726433 h 10287000"/>
              <a:gd name="connsiteX325" fmla="*/ 3206446 w 9854218"/>
              <a:gd name="connsiteY325" fmla="*/ 7625214 h 10287000"/>
              <a:gd name="connsiteX326" fmla="*/ 3235355 w 9854218"/>
              <a:gd name="connsiteY326" fmla="*/ 7673157 h 10287000"/>
              <a:gd name="connsiteX327" fmla="*/ 3245688 w 9854218"/>
              <a:gd name="connsiteY327" fmla="*/ 7693805 h 10287000"/>
              <a:gd name="connsiteX328" fmla="*/ 3256018 w 9854218"/>
              <a:gd name="connsiteY328" fmla="*/ 7704129 h 10287000"/>
              <a:gd name="connsiteX329" fmla="*/ 3359327 w 9854218"/>
              <a:gd name="connsiteY329" fmla="*/ 7869293 h 10287000"/>
              <a:gd name="connsiteX330" fmla="*/ 3483299 w 9854218"/>
              <a:gd name="connsiteY330" fmla="*/ 8075745 h 10287000"/>
              <a:gd name="connsiteX331" fmla="*/ 3638266 w 9854218"/>
              <a:gd name="connsiteY331" fmla="*/ 8271875 h 10287000"/>
              <a:gd name="connsiteX332" fmla="*/ 3778586 w 9854218"/>
              <a:gd name="connsiteY332" fmla="*/ 8450318 h 10287000"/>
              <a:gd name="connsiteX333" fmla="*/ 3799856 w 9854218"/>
              <a:gd name="connsiteY333" fmla="*/ 8410686 h 10287000"/>
              <a:gd name="connsiteX334" fmla="*/ 3796932 w 9854218"/>
              <a:gd name="connsiteY334" fmla="*/ 8407347 h 10287000"/>
              <a:gd name="connsiteX335" fmla="*/ 3739514 w 9854218"/>
              <a:gd name="connsiteY335" fmla="*/ 8350320 h 10287000"/>
              <a:gd name="connsiteX336" fmla="*/ 3695316 w 9854218"/>
              <a:gd name="connsiteY336" fmla="*/ 8279910 h 10287000"/>
              <a:gd name="connsiteX337" fmla="*/ 3694056 w 9854218"/>
              <a:gd name="connsiteY337" fmla="*/ 8227773 h 10287000"/>
              <a:gd name="connsiteX338" fmla="*/ 3682170 w 9854218"/>
              <a:gd name="connsiteY338" fmla="*/ 8203487 h 10287000"/>
              <a:gd name="connsiteX339" fmla="*/ 3638266 w 9854218"/>
              <a:gd name="connsiteY339" fmla="*/ 8137679 h 10287000"/>
              <a:gd name="connsiteX340" fmla="*/ 3545285 w 9854218"/>
              <a:gd name="connsiteY340" fmla="*/ 8065419 h 10287000"/>
              <a:gd name="connsiteX341" fmla="*/ 3534954 w 9854218"/>
              <a:gd name="connsiteY341" fmla="*/ 8055099 h 10287000"/>
              <a:gd name="connsiteX342" fmla="*/ 3514292 w 9854218"/>
              <a:gd name="connsiteY342" fmla="*/ 8034456 h 10287000"/>
              <a:gd name="connsiteX343" fmla="*/ 3514294 w 9854218"/>
              <a:gd name="connsiteY343" fmla="*/ 8044778 h 10287000"/>
              <a:gd name="connsiteX344" fmla="*/ 3524627 w 9854218"/>
              <a:gd name="connsiteY344" fmla="*/ 8055099 h 10287000"/>
              <a:gd name="connsiteX345" fmla="*/ 3524626 w 9854218"/>
              <a:gd name="connsiteY345" fmla="*/ 8065421 h 10287000"/>
              <a:gd name="connsiteX346" fmla="*/ 3483299 w 9854218"/>
              <a:gd name="connsiteY346" fmla="*/ 7993160 h 10287000"/>
              <a:gd name="connsiteX347" fmla="*/ 3493632 w 9854218"/>
              <a:gd name="connsiteY347" fmla="*/ 8003487 h 10287000"/>
              <a:gd name="connsiteX348" fmla="*/ 3493634 w 9854218"/>
              <a:gd name="connsiteY348" fmla="*/ 7993163 h 10287000"/>
              <a:gd name="connsiteX349" fmla="*/ 3493632 w 9854218"/>
              <a:gd name="connsiteY349" fmla="*/ 7982841 h 10287000"/>
              <a:gd name="connsiteX350" fmla="*/ 3514292 w 9854218"/>
              <a:gd name="connsiteY350" fmla="*/ 7993163 h 10287000"/>
              <a:gd name="connsiteX351" fmla="*/ 3462640 w 9854218"/>
              <a:gd name="connsiteY351" fmla="*/ 7941551 h 10287000"/>
              <a:gd name="connsiteX352" fmla="*/ 3452306 w 9854218"/>
              <a:gd name="connsiteY352" fmla="*/ 7931229 h 10287000"/>
              <a:gd name="connsiteX353" fmla="*/ 3452306 w 9854218"/>
              <a:gd name="connsiteY353" fmla="*/ 7920905 h 10287000"/>
              <a:gd name="connsiteX354" fmla="*/ 3452306 w 9854218"/>
              <a:gd name="connsiteY354" fmla="*/ 7910582 h 10287000"/>
              <a:gd name="connsiteX355" fmla="*/ 3441976 w 9854218"/>
              <a:gd name="connsiteY355" fmla="*/ 7920905 h 10287000"/>
              <a:gd name="connsiteX356" fmla="*/ 3442472 w 9854218"/>
              <a:gd name="connsiteY356" fmla="*/ 7922889 h 10287000"/>
              <a:gd name="connsiteX357" fmla="*/ 3400006 w 9854218"/>
              <a:gd name="connsiteY357" fmla="*/ 7886874 h 10287000"/>
              <a:gd name="connsiteX358" fmla="*/ 3266348 w 9854218"/>
              <a:gd name="connsiteY358" fmla="*/ 7693805 h 10287000"/>
              <a:gd name="connsiteX359" fmla="*/ 3256018 w 9854218"/>
              <a:gd name="connsiteY359" fmla="*/ 7683485 h 10287000"/>
              <a:gd name="connsiteX360" fmla="*/ 3245690 w 9854218"/>
              <a:gd name="connsiteY360" fmla="*/ 7662839 h 10287000"/>
              <a:gd name="connsiteX361" fmla="*/ 3245688 w 9854218"/>
              <a:gd name="connsiteY361" fmla="*/ 7673162 h 10287000"/>
              <a:gd name="connsiteX362" fmla="*/ 3233204 w 9854218"/>
              <a:gd name="connsiteY362" fmla="*/ 7637403 h 10287000"/>
              <a:gd name="connsiteX363" fmla="*/ 3217256 w 9854218"/>
              <a:gd name="connsiteY363" fmla="*/ 7536666 h 10287000"/>
              <a:gd name="connsiteX364" fmla="*/ 3221402 w 9854218"/>
              <a:gd name="connsiteY364" fmla="*/ 7555992 h 10287000"/>
              <a:gd name="connsiteX365" fmla="*/ 3225024 w 9854218"/>
              <a:gd name="connsiteY365" fmla="*/ 7559613 h 10287000"/>
              <a:gd name="connsiteX366" fmla="*/ 3225026 w 9854218"/>
              <a:gd name="connsiteY366" fmla="*/ 7566182 h 10287000"/>
              <a:gd name="connsiteX367" fmla="*/ 3222992 w 9854218"/>
              <a:gd name="connsiteY367" fmla="*/ 7563411 h 10287000"/>
              <a:gd name="connsiteX368" fmla="*/ 3228820 w 9854218"/>
              <a:gd name="connsiteY368" fmla="*/ 7590581 h 10287000"/>
              <a:gd name="connsiteX369" fmla="*/ 3235356 w 9854218"/>
              <a:gd name="connsiteY369" fmla="*/ 7590581 h 10287000"/>
              <a:gd name="connsiteX370" fmla="*/ 3225026 w 9854218"/>
              <a:gd name="connsiteY370" fmla="*/ 7569936 h 10287000"/>
              <a:gd name="connsiteX371" fmla="*/ 3225026 w 9854218"/>
              <a:gd name="connsiteY371" fmla="*/ 7566182 h 10287000"/>
              <a:gd name="connsiteX372" fmla="*/ 3235356 w 9854218"/>
              <a:gd name="connsiteY372" fmla="*/ 7580259 h 10287000"/>
              <a:gd name="connsiteX373" fmla="*/ 576853 w 9854218"/>
              <a:gd name="connsiteY373" fmla="*/ 7500311 h 10287000"/>
              <a:gd name="connsiteX374" fmla="*/ 576661 w 9854218"/>
              <a:gd name="connsiteY374" fmla="*/ 7505700 h 10287000"/>
              <a:gd name="connsiteX375" fmla="*/ 577664 w 9854218"/>
              <a:gd name="connsiteY375" fmla="*/ 7506488 h 10287000"/>
              <a:gd name="connsiteX376" fmla="*/ 580756 w 9854218"/>
              <a:gd name="connsiteY376" fmla="*/ 7503573 h 10287000"/>
              <a:gd name="connsiteX377" fmla="*/ 3058964 w 9854218"/>
              <a:gd name="connsiteY377" fmla="*/ 7357428 h 10287000"/>
              <a:gd name="connsiteX378" fmla="*/ 3110093 w 9854218"/>
              <a:gd name="connsiteY378" fmla="*/ 7465419 h 10287000"/>
              <a:gd name="connsiteX379" fmla="*/ 3147628 w 9854218"/>
              <a:gd name="connsiteY379" fmla="*/ 7527669 h 10287000"/>
              <a:gd name="connsiteX380" fmla="*/ 1935281 w 9854218"/>
              <a:gd name="connsiteY380" fmla="*/ 7216802 h 10287000"/>
              <a:gd name="connsiteX381" fmla="*/ 1937030 w 9854218"/>
              <a:gd name="connsiteY381" fmla="*/ 7220294 h 10287000"/>
              <a:gd name="connsiteX382" fmla="*/ 1937028 w 9854218"/>
              <a:gd name="connsiteY382" fmla="*/ 7232948 h 10287000"/>
              <a:gd name="connsiteX383" fmla="*/ 1937028 w 9854218"/>
              <a:gd name="connsiteY383" fmla="*/ 7245597 h 10287000"/>
              <a:gd name="connsiteX384" fmla="*/ 1935281 w 9854218"/>
              <a:gd name="connsiteY384" fmla="*/ 7216802 h 10287000"/>
              <a:gd name="connsiteX385" fmla="*/ 2891850 w 9854218"/>
              <a:gd name="connsiteY385" fmla="*/ 7157030 h 10287000"/>
              <a:gd name="connsiteX386" fmla="*/ 2894432 w 9854218"/>
              <a:gd name="connsiteY386" fmla="*/ 7157030 h 10287000"/>
              <a:gd name="connsiteX387" fmla="*/ 2894429 w 9854218"/>
              <a:gd name="connsiteY387" fmla="*/ 7167353 h 10287000"/>
              <a:gd name="connsiteX388" fmla="*/ 404158 w 9854218"/>
              <a:gd name="connsiteY388" fmla="*/ 7137999 h 10287000"/>
              <a:gd name="connsiteX389" fmla="*/ 401374 w 9854218"/>
              <a:gd name="connsiteY389" fmla="*/ 7139007 h 10287000"/>
              <a:gd name="connsiteX390" fmla="*/ 408661 w 9854218"/>
              <a:gd name="connsiteY390" fmla="*/ 7178088 h 10287000"/>
              <a:gd name="connsiteX391" fmla="*/ 412363 w 9854218"/>
              <a:gd name="connsiteY391" fmla="*/ 7181183 h 10287000"/>
              <a:gd name="connsiteX392" fmla="*/ 2918046 w 9854218"/>
              <a:gd name="connsiteY392" fmla="*/ 7071500 h 10287000"/>
              <a:gd name="connsiteX393" fmla="*/ 2915096 w 9854218"/>
              <a:gd name="connsiteY393" fmla="*/ 7074452 h 10287000"/>
              <a:gd name="connsiteX394" fmla="*/ 2935756 w 9854218"/>
              <a:gd name="connsiteY394" fmla="*/ 7157030 h 10287000"/>
              <a:gd name="connsiteX395" fmla="*/ 2884102 w 9854218"/>
              <a:gd name="connsiteY395" fmla="*/ 7126059 h 10287000"/>
              <a:gd name="connsiteX396" fmla="*/ 2889268 w 9854218"/>
              <a:gd name="connsiteY396" fmla="*/ 7146705 h 10287000"/>
              <a:gd name="connsiteX397" fmla="*/ 2891850 w 9854218"/>
              <a:gd name="connsiteY397" fmla="*/ 7157030 h 10287000"/>
              <a:gd name="connsiteX398" fmla="*/ 2884104 w 9854218"/>
              <a:gd name="connsiteY398" fmla="*/ 7157030 h 10287000"/>
              <a:gd name="connsiteX399" fmla="*/ 2884104 w 9854218"/>
              <a:gd name="connsiteY399" fmla="*/ 7167354 h 10287000"/>
              <a:gd name="connsiteX400" fmla="*/ 2884104 w 9854218"/>
              <a:gd name="connsiteY400" fmla="*/ 7177674 h 10287000"/>
              <a:gd name="connsiteX401" fmla="*/ 2915096 w 9854218"/>
              <a:gd name="connsiteY401" fmla="*/ 7229289 h 10287000"/>
              <a:gd name="connsiteX402" fmla="*/ 2925425 w 9854218"/>
              <a:gd name="connsiteY402" fmla="*/ 7239612 h 10287000"/>
              <a:gd name="connsiteX403" fmla="*/ 2935756 w 9854218"/>
              <a:gd name="connsiteY403" fmla="*/ 7260254 h 10287000"/>
              <a:gd name="connsiteX404" fmla="*/ 2946089 w 9854218"/>
              <a:gd name="connsiteY404" fmla="*/ 7270578 h 10287000"/>
              <a:gd name="connsiteX405" fmla="*/ 2935752 w 9854218"/>
              <a:gd name="connsiteY405" fmla="*/ 7249928 h 10287000"/>
              <a:gd name="connsiteX406" fmla="*/ 2925425 w 9854218"/>
              <a:gd name="connsiteY406" fmla="*/ 7229289 h 10287000"/>
              <a:gd name="connsiteX407" fmla="*/ 2977079 w 9854218"/>
              <a:gd name="connsiteY407" fmla="*/ 7280901 h 10287000"/>
              <a:gd name="connsiteX408" fmla="*/ 2984831 w 9854218"/>
              <a:gd name="connsiteY408" fmla="*/ 7257674 h 10287000"/>
              <a:gd name="connsiteX409" fmla="*/ 3003734 w 9854218"/>
              <a:gd name="connsiteY409" fmla="*/ 7251377 h 10287000"/>
              <a:gd name="connsiteX410" fmla="*/ 2942093 w 9854218"/>
              <a:gd name="connsiteY410" fmla="*/ 7133019 h 10287000"/>
              <a:gd name="connsiteX411" fmla="*/ 2915093 w 9854218"/>
              <a:gd name="connsiteY411" fmla="*/ 7063944 h 10287000"/>
              <a:gd name="connsiteX412" fmla="*/ 2915093 w 9854218"/>
              <a:gd name="connsiteY412" fmla="*/ 7064126 h 10287000"/>
              <a:gd name="connsiteX413" fmla="*/ 2915164 w 9854218"/>
              <a:gd name="connsiteY413" fmla="*/ 7064126 h 10287000"/>
              <a:gd name="connsiteX414" fmla="*/ 2915093 w 9854218"/>
              <a:gd name="connsiteY414" fmla="*/ 7063944 h 10287000"/>
              <a:gd name="connsiteX415" fmla="*/ 2849382 w 9854218"/>
              <a:gd name="connsiteY415" fmla="*/ 6895821 h 10287000"/>
              <a:gd name="connsiteX416" fmla="*/ 2848265 w 9854218"/>
              <a:gd name="connsiteY416" fmla="*/ 6901058 h 10287000"/>
              <a:gd name="connsiteX417" fmla="*/ 2860859 w 9854218"/>
              <a:gd name="connsiteY417" fmla="*/ 6936381 h 10287000"/>
              <a:gd name="connsiteX418" fmla="*/ 2875322 w 9854218"/>
              <a:gd name="connsiteY418" fmla="*/ 6962196 h 10287000"/>
              <a:gd name="connsiteX419" fmla="*/ 385241 w 9854218"/>
              <a:gd name="connsiteY419" fmla="*/ 6674598 h 10287000"/>
              <a:gd name="connsiteX420" fmla="*/ 385633 w 9854218"/>
              <a:gd name="connsiteY420" fmla="*/ 6679001 h 10287000"/>
              <a:gd name="connsiteX421" fmla="*/ 390691 w 9854218"/>
              <a:gd name="connsiteY421" fmla="*/ 6735674 h 10287000"/>
              <a:gd name="connsiteX422" fmla="*/ 520061 w 9854218"/>
              <a:gd name="connsiteY422" fmla="*/ 7276901 h 10287000"/>
              <a:gd name="connsiteX423" fmla="*/ 526588 w 9854218"/>
              <a:gd name="connsiteY423" fmla="*/ 7350027 h 10287000"/>
              <a:gd name="connsiteX424" fmla="*/ 553093 w 9854218"/>
              <a:gd name="connsiteY424" fmla="*/ 7399248 h 10287000"/>
              <a:gd name="connsiteX425" fmla="*/ 566546 w 9854218"/>
              <a:gd name="connsiteY425" fmla="*/ 7302215 h 10287000"/>
              <a:gd name="connsiteX426" fmla="*/ 616675 w 9854218"/>
              <a:gd name="connsiteY426" fmla="*/ 7533593 h 10287000"/>
              <a:gd name="connsiteX427" fmla="*/ 614161 w 9854218"/>
              <a:gd name="connsiteY427" fmla="*/ 7546719 h 10287000"/>
              <a:gd name="connsiteX428" fmla="*/ 609307 w 9854218"/>
              <a:gd name="connsiteY428" fmla="*/ 7540304 h 10287000"/>
              <a:gd name="connsiteX429" fmla="*/ 620531 w 9854218"/>
              <a:gd name="connsiteY429" fmla="*/ 7570017 h 10287000"/>
              <a:gd name="connsiteX430" fmla="*/ 648503 w 9854218"/>
              <a:gd name="connsiteY430" fmla="*/ 7635690 h 10287000"/>
              <a:gd name="connsiteX431" fmla="*/ 627220 w 9854218"/>
              <a:gd name="connsiteY431" fmla="*/ 7644969 h 10287000"/>
              <a:gd name="connsiteX432" fmla="*/ 698768 w 9854218"/>
              <a:gd name="connsiteY432" fmla="*/ 7785975 h 10287000"/>
              <a:gd name="connsiteX433" fmla="*/ 705985 w 9854218"/>
              <a:gd name="connsiteY433" fmla="*/ 7842338 h 10287000"/>
              <a:gd name="connsiteX434" fmla="*/ 719231 w 9854218"/>
              <a:gd name="connsiteY434" fmla="*/ 7878117 h 10287000"/>
              <a:gd name="connsiteX435" fmla="*/ 727777 w 9854218"/>
              <a:gd name="connsiteY435" fmla="*/ 7870068 h 10287000"/>
              <a:gd name="connsiteX436" fmla="*/ 784700 w 9854218"/>
              <a:gd name="connsiteY436" fmla="*/ 8012382 h 10287000"/>
              <a:gd name="connsiteX437" fmla="*/ 781397 w 9854218"/>
              <a:gd name="connsiteY437" fmla="*/ 8012736 h 10287000"/>
              <a:gd name="connsiteX438" fmla="*/ 795380 w 9854218"/>
              <a:gd name="connsiteY438" fmla="*/ 8042666 h 10287000"/>
              <a:gd name="connsiteX439" fmla="*/ 824632 w 9854218"/>
              <a:gd name="connsiteY439" fmla="*/ 8040041 h 10287000"/>
              <a:gd name="connsiteX440" fmla="*/ 983654 w 9854218"/>
              <a:gd name="connsiteY440" fmla="*/ 8335359 h 10287000"/>
              <a:gd name="connsiteX441" fmla="*/ 1037300 w 9854218"/>
              <a:gd name="connsiteY441" fmla="*/ 8419382 h 10287000"/>
              <a:gd name="connsiteX442" fmla="*/ 972338 w 9854218"/>
              <a:gd name="connsiteY442" fmla="*/ 8288648 h 10287000"/>
              <a:gd name="connsiteX443" fmla="*/ 580660 w 9854218"/>
              <a:gd name="connsiteY443" fmla="*/ 7306610 h 10287000"/>
              <a:gd name="connsiteX444" fmla="*/ 452429 w 9854218"/>
              <a:gd name="connsiteY444" fmla="*/ 6916037 h 10287000"/>
              <a:gd name="connsiteX445" fmla="*/ 2698146 w 9854218"/>
              <a:gd name="connsiteY445" fmla="*/ 6455090 h 10287000"/>
              <a:gd name="connsiteX446" fmla="*/ 2749798 w 9854218"/>
              <a:gd name="connsiteY446" fmla="*/ 6671862 h 10287000"/>
              <a:gd name="connsiteX447" fmla="*/ 2796288 w 9854218"/>
              <a:gd name="connsiteY447" fmla="*/ 6776381 h 10287000"/>
              <a:gd name="connsiteX448" fmla="*/ 2807396 w 9854218"/>
              <a:gd name="connsiteY448" fmla="*/ 6788406 h 10287000"/>
              <a:gd name="connsiteX449" fmla="*/ 2758038 w 9854218"/>
              <a:gd name="connsiteY449" fmla="*/ 6662120 h 10287000"/>
              <a:gd name="connsiteX450" fmla="*/ 2702070 w 9854218"/>
              <a:gd name="connsiteY450" fmla="*/ 6463778 h 10287000"/>
              <a:gd name="connsiteX451" fmla="*/ 1578806 w 9854218"/>
              <a:gd name="connsiteY451" fmla="*/ 6051324 h 10287000"/>
              <a:gd name="connsiteX452" fmla="*/ 1578095 w 9854218"/>
              <a:gd name="connsiteY452" fmla="*/ 6052265 h 10287000"/>
              <a:gd name="connsiteX453" fmla="*/ 1579340 w 9854218"/>
              <a:gd name="connsiteY453" fmla="*/ 6053457 h 10287000"/>
              <a:gd name="connsiteX454" fmla="*/ 3157676 w 9854218"/>
              <a:gd name="connsiteY454" fmla="*/ 5831444 h 10287000"/>
              <a:gd name="connsiteX455" fmla="*/ 3167154 w 9854218"/>
              <a:gd name="connsiteY455" fmla="*/ 5897463 h 10287000"/>
              <a:gd name="connsiteX456" fmla="*/ 3179536 w 9854218"/>
              <a:gd name="connsiteY456" fmla="*/ 5918415 h 10287000"/>
              <a:gd name="connsiteX457" fmla="*/ 3183389 w 9854218"/>
              <a:gd name="connsiteY457" fmla="*/ 5926548 h 10287000"/>
              <a:gd name="connsiteX458" fmla="*/ 1608035 w 9854218"/>
              <a:gd name="connsiteY458" fmla="*/ 5790446 h 10287000"/>
              <a:gd name="connsiteX459" fmla="*/ 1608806 w 9854218"/>
              <a:gd name="connsiteY459" fmla="*/ 5802330 h 10287000"/>
              <a:gd name="connsiteX460" fmla="*/ 1608036 w 9854218"/>
              <a:gd name="connsiteY460" fmla="*/ 5803103 h 10287000"/>
              <a:gd name="connsiteX461" fmla="*/ 1620094 w 9854218"/>
              <a:gd name="connsiteY461" fmla="*/ 5777793 h 10287000"/>
              <a:gd name="connsiteX462" fmla="*/ 1620690 w 9854218"/>
              <a:gd name="connsiteY462" fmla="*/ 5777793 h 10287000"/>
              <a:gd name="connsiteX463" fmla="*/ 1620689 w 9854218"/>
              <a:gd name="connsiteY463" fmla="*/ 5790449 h 10287000"/>
              <a:gd name="connsiteX464" fmla="*/ 1620094 w 9854218"/>
              <a:gd name="connsiteY464" fmla="*/ 5777793 h 10287000"/>
              <a:gd name="connsiteX465" fmla="*/ 987599 w 9854218"/>
              <a:gd name="connsiteY465" fmla="*/ 5658741 h 10287000"/>
              <a:gd name="connsiteX466" fmla="*/ 986690 w 9854218"/>
              <a:gd name="connsiteY466" fmla="*/ 5662070 h 10287000"/>
              <a:gd name="connsiteX467" fmla="*/ 988007 w 9854218"/>
              <a:gd name="connsiteY467" fmla="*/ 5663910 h 10287000"/>
              <a:gd name="connsiteX468" fmla="*/ 179521 w 9854218"/>
              <a:gd name="connsiteY468" fmla="*/ 5654276 h 10287000"/>
              <a:gd name="connsiteX469" fmla="*/ 170569 w 9854218"/>
              <a:gd name="connsiteY469" fmla="*/ 5666250 h 10287000"/>
              <a:gd name="connsiteX470" fmla="*/ 203464 w 9854218"/>
              <a:gd name="connsiteY470" fmla="*/ 5869691 h 10287000"/>
              <a:gd name="connsiteX471" fmla="*/ 224344 w 9854218"/>
              <a:gd name="connsiteY471" fmla="*/ 6103695 h 10287000"/>
              <a:gd name="connsiteX472" fmla="*/ 211024 w 9854218"/>
              <a:gd name="connsiteY472" fmla="*/ 6119633 h 10287000"/>
              <a:gd name="connsiteX473" fmla="*/ 245357 w 9854218"/>
              <a:gd name="connsiteY473" fmla="*/ 6256604 h 10287000"/>
              <a:gd name="connsiteX474" fmla="*/ 254494 w 9854218"/>
              <a:gd name="connsiteY474" fmla="*/ 6358982 h 10287000"/>
              <a:gd name="connsiteX475" fmla="*/ 266614 w 9854218"/>
              <a:gd name="connsiteY475" fmla="*/ 6397541 h 10287000"/>
              <a:gd name="connsiteX476" fmla="*/ 260396 w 9854218"/>
              <a:gd name="connsiteY476" fmla="*/ 6349323 h 10287000"/>
              <a:gd name="connsiteX477" fmla="*/ 238729 w 9854218"/>
              <a:gd name="connsiteY477" fmla="*/ 6189101 h 10287000"/>
              <a:gd name="connsiteX478" fmla="*/ 245522 w 9854218"/>
              <a:gd name="connsiteY478" fmla="*/ 6100037 h 10287000"/>
              <a:gd name="connsiteX479" fmla="*/ 221948 w 9854218"/>
              <a:gd name="connsiteY479" fmla="*/ 5887466 h 10287000"/>
              <a:gd name="connsiteX480" fmla="*/ 214630 w 9854218"/>
              <a:gd name="connsiteY480" fmla="*/ 5676320 h 10287000"/>
              <a:gd name="connsiteX481" fmla="*/ 200849 w 9854218"/>
              <a:gd name="connsiteY481" fmla="*/ 5668716 h 10287000"/>
              <a:gd name="connsiteX482" fmla="*/ 179521 w 9854218"/>
              <a:gd name="connsiteY482" fmla="*/ 5654276 h 10287000"/>
              <a:gd name="connsiteX483" fmla="*/ 207314 w 9854218"/>
              <a:gd name="connsiteY483" fmla="*/ 5516166 h 10287000"/>
              <a:gd name="connsiteX484" fmla="*/ 207958 w 9854218"/>
              <a:gd name="connsiteY484" fmla="*/ 5528946 h 10287000"/>
              <a:gd name="connsiteX485" fmla="*/ 211150 w 9854218"/>
              <a:gd name="connsiteY485" fmla="*/ 5547980 h 10287000"/>
              <a:gd name="connsiteX486" fmla="*/ 210569 w 9854218"/>
              <a:gd name="connsiteY486" fmla="*/ 5526123 h 10287000"/>
              <a:gd name="connsiteX487" fmla="*/ 192424 w 9854218"/>
              <a:gd name="connsiteY487" fmla="*/ 5257115 h 10287000"/>
              <a:gd name="connsiteX488" fmla="*/ 193628 w 9854218"/>
              <a:gd name="connsiteY488" fmla="*/ 5272157 h 10287000"/>
              <a:gd name="connsiteX489" fmla="*/ 191896 w 9854218"/>
              <a:gd name="connsiteY489" fmla="*/ 5279469 h 10287000"/>
              <a:gd name="connsiteX490" fmla="*/ 193616 w 9854218"/>
              <a:gd name="connsiteY490" fmla="*/ 5297948 h 10287000"/>
              <a:gd name="connsiteX491" fmla="*/ 196162 w 9854218"/>
              <a:gd name="connsiteY491" fmla="*/ 5303711 h 10287000"/>
              <a:gd name="connsiteX492" fmla="*/ 193628 w 9854218"/>
              <a:gd name="connsiteY492" fmla="*/ 5272157 h 10287000"/>
              <a:gd name="connsiteX493" fmla="*/ 193729 w 9854218"/>
              <a:gd name="connsiteY493" fmla="*/ 5271741 h 10287000"/>
              <a:gd name="connsiteX494" fmla="*/ 192424 w 9854218"/>
              <a:gd name="connsiteY494" fmla="*/ 5257115 h 10287000"/>
              <a:gd name="connsiteX495" fmla="*/ 167189 w 9854218"/>
              <a:gd name="connsiteY495" fmla="*/ 5242794 h 10287000"/>
              <a:gd name="connsiteX496" fmla="*/ 169834 w 9854218"/>
              <a:gd name="connsiteY496" fmla="*/ 5251772 h 10287000"/>
              <a:gd name="connsiteX497" fmla="*/ 174181 w 9854218"/>
              <a:gd name="connsiteY497" fmla="*/ 5434740 h 10287000"/>
              <a:gd name="connsiteX498" fmla="*/ 175744 w 9854218"/>
              <a:gd name="connsiteY498" fmla="*/ 5481300 h 10287000"/>
              <a:gd name="connsiteX499" fmla="*/ 176030 w 9854218"/>
              <a:gd name="connsiteY499" fmla="*/ 5479637 h 10287000"/>
              <a:gd name="connsiteX500" fmla="*/ 181550 w 9854218"/>
              <a:gd name="connsiteY500" fmla="*/ 5458872 h 10287000"/>
              <a:gd name="connsiteX501" fmla="*/ 193984 w 9854218"/>
              <a:gd name="connsiteY501" fmla="*/ 5474340 h 10287000"/>
              <a:gd name="connsiteX502" fmla="*/ 201959 w 9854218"/>
              <a:gd name="connsiteY502" fmla="*/ 5477472 h 10287000"/>
              <a:gd name="connsiteX503" fmla="*/ 196402 w 9854218"/>
              <a:gd name="connsiteY503" fmla="*/ 5432868 h 10287000"/>
              <a:gd name="connsiteX504" fmla="*/ 176849 w 9854218"/>
              <a:gd name="connsiteY504" fmla="*/ 5308184 h 10287000"/>
              <a:gd name="connsiteX505" fmla="*/ 173353 w 9854218"/>
              <a:gd name="connsiteY505" fmla="*/ 5243462 h 10287000"/>
              <a:gd name="connsiteX506" fmla="*/ 1645996 w 9854218"/>
              <a:gd name="connsiteY506" fmla="*/ 5183081 h 10287000"/>
              <a:gd name="connsiteX507" fmla="*/ 1645996 w 9854218"/>
              <a:gd name="connsiteY507" fmla="*/ 5195732 h 10287000"/>
              <a:gd name="connsiteX508" fmla="*/ 1633342 w 9854218"/>
              <a:gd name="connsiteY508" fmla="*/ 5195732 h 10287000"/>
              <a:gd name="connsiteX509" fmla="*/ 1620689 w 9854218"/>
              <a:gd name="connsiteY509" fmla="*/ 5043891 h 10287000"/>
              <a:gd name="connsiteX510" fmla="*/ 1633343 w 9854218"/>
              <a:gd name="connsiteY510" fmla="*/ 5119812 h 10287000"/>
              <a:gd name="connsiteX511" fmla="*/ 1620690 w 9854218"/>
              <a:gd name="connsiteY511" fmla="*/ 5145120 h 10287000"/>
              <a:gd name="connsiteX512" fmla="*/ 1633342 w 9854218"/>
              <a:gd name="connsiteY512" fmla="*/ 5170424 h 10287000"/>
              <a:gd name="connsiteX513" fmla="*/ 1633343 w 9854218"/>
              <a:gd name="connsiteY513" fmla="*/ 5183081 h 10287000"/>
              <a:gd name="connsiteX514" fmla="*/ 1633342 w 9854218"/>
              <a:gd name="connsiteY514" fmla="*/ 5195732 h 10287000"/>
              <a:gd name="connsiteX515" fmla="*/ 1633342 w 9854218"/>
              <a:gd name="connsiteY515" fmla="*/ 5208387 h 10287000"/>
              <a:gd name="connsiteX516" fmla="*/ 1633343 w 9854218"/>
              <a:gd name="connsiteY516" fmla="*/ 5221041 h 10287000"/>
              <a:gd name="connsiteX517" fmla="*/ 1645996 w 9854218"/>
              <a:gd name="connsiteY517" fmla="*/ 5221038 h 10287000"/>
              <a:gd name="connsiteX518" fmla="*/ 1620689 w 9854218"/>
              <a:gd name="connsiteY518" fmla="*/ 5233692 h 10287000"/>
              <a:gd name="connsiteX519" fmla="*/ 1633343 w 9854218"/>
              <a:gd name="connsiteY519" fmla="*/ 5246346 h 10287000"/>
              <a:gd name="connsiteX520" fmla="*/ 1620689 w 9854218"/>
              <a:gd name="connsiteY520" fmla="*/ 5284307 h 10287000"/>
              <a:gd name="connsiteX521" fmla="*/ 1620694 w 9854218"/>
              <a:gd name="connsiteY521" fmla="*/ 5360228 h 10287000"/>
              <a:gd name="connsiteX522" fmla="*/ 1608036 w 9854218"/>
              <a:gd name="connsiteY522" fmla="*/ 5372882 h 10287000"/>
              <a:gd name="connsiteX523" fmla="*/ 1620689 w 9854218"/>
              <a:gd name="connsiteY523" fmla="*/ 5385533 h 10287000"/>
              <a:gd name="connsiteX524" fmla="*/ 1608035 w 9854218"/>
              <a:gd name="connsiteY524" fmla="*/ 5385537 h 10287000"/>
              <a:gd name="connsiteX525" fmla="*/ 1620689 w 9854218"/>
              <a:gd name="connsiteY525" fmla="*/ 5512071 h 10287000"/>
              <a:gd name="connsiteX526" fmla="*/ 1620690 w 9854218"/>
              <a:gd name="connsiteY526" fmla="*/ 5524721 h 10287000"/>
              <a:gd name="connsiteX527" fmla="*/ 1620689 w 9854218"/>
              <a:gd name="connsiteY527" fmla="*/ 5550032 h 10287000"/>
              <a:gd name="connsiteX528" fmla="*/ 1633342 w 9854218"/>
              <a:gd name="connsiteY528" fmla="*/ 5550032 h 10287000"/>
              <a:gd name="connsiteX529" fmla="*/ 1620689 w 9854218"/>
              <a:gd name="connsiteY529" fmla="*/ 5651259 h 10287000"/>
              <a:gd name="connsiteX530" fmla="*/ 1608035 w 9854218"/>
              <a:gd name="connsiteY530" fmla="*/ 5651259 h 10287000"/>
              <a:gd name="connsiteX531" fmla="*/ 1608035 w 9854218"/>
              <a:gd name="connsiteY531" fmla="*/ 5663913 h 10287000"/>
              <a:gd name="connsiteX532" fmla="*/ 1620689 w 9854218"/>
              <a:gd name="connsiteY532" fmla="*/ 5676567 h 10287000"/>
              <a:gd name="connsiteX533" fmla="*/ 1620689 w 9854218"/>
              <a:gd name="connsiteY533" fmla="*/ 5689218 h 10287000"/>
              <a:gd name="connsiteX534" fmla="*/ 1633342 w 9854218"/>
              <a:gd name="connsiteY534" fmla="*/ 5701869 h 10287000"/>
              <a:gd name="connsiteX535" fmla="*/ 1619108 w 9854218"/>
              <a:gd name="connsiteY535" fmla="*/ 5757035 h 10287000"/>
              <a:gd name="connsiteX536" fmla="*/ 1620094 w 9854218"/>
              <a:gd name="connsiteY536" fmla="*/ 5777793 h 10287000"/>
              <a:gd name="connsiteX537" fmla="*/ 1608035 w 9854218"/>
              <a:gd name="connsiteY537" fmla="*/ 5777793 h 10287000"/>
              <a:gd name="connsiteX538" fmla="*/ 1608036 w 9854218"/>
              <a:gd name="connsiteY538" fmla="*/ 5765139 h 10287000"/>
              <a:gd name="connsiteX539" fmla="*/ 1595382 w 9854218"/>
              <a:gd name="connsiteY539" fmla="*/ 5714528 h 10287000"/>
              <a:gd name="connsiteX540" fmla="*/ 1595386 w 9854218"/>
              <a:gd name="connsiteY540" fmla="*/ 5701874 h 10287000"/>
              <a:gd name="connsiteX541" fmla="*/ 1582726 w 9854218"/>
              <a:gd name="connsiteY541" fmla="*/ 5714528 h 10287000"/>
              <a:gd name="connsiteX542" fmla="*/ 1557422 w 9854218"/>
              <a:gd name="connsiteY542" fmla="*/ 5499417 h 10287000"/>
              <a:gd name="connsiteX543" fmla="*/ 1570076 w 9854218"/>
              <a:gd name="connsiteY543" fmla="*/ 5372882 h 10287000"/>
              <a:gd name="connsiteX544" fmla="*/ 1608035 w 9854218"/>
              <a:gd name="connsiteY544" fmla="*/ 5271653 h 10287000"/>
              <a:gd name="connsiteX545" fmla="*/ 1620689 w 9854218"/>
              <a:gd name="connsiteY545" fmla="*/ 5043891 h 10287000"/>
              <a:gd name="connsiteX546" fmla="*/ 139210 w 9854218"/>
              <a:gd name="connsiteY546" fmla="*/ 4996022 h 10287000"/>
              <a:gd name="connsiteX547" fmla="*/ 139087 w 9854218"/>
              <a:gd name="connsiteY547" fmla="*/ 5001062 h 10287000"/>
              <a:gd name="connsiteX548" fmla="*/ 127640 w 9854218"/>
              <a:gd name="connsiteY548" fmla="*/ 5102522 h 10287000"/>
              <a:gd name="connsiteX549" fmla="*/ 143042 w 9854218"/>
              <a:gd name="connsiteY549" fmla="*/ 5144790 h 10287000"/>
              <a:gd name="connsiteX550" fmla="*/ 144632 w 9854218"/>
              <a:gd name="connsiteY550" fmla="*/ 5154192 h 10287000"/>
              <a:gd name="connsiteX551" fmla="*/ 142862 w 9854218"/>
              <a:gd name="connsiteY551" fmla="*/ 5083734 h 10287000"/>
              <a:gd name="connsiteX552" fmla="*/ 142894 w 9854218"/>
              <a:gd name="connsiteY552" fmla="*/ 5017103 h 10287000"/>
              <a:gd name="connsiteX553" fmla="*/ 2966222 w 9854218"/>
              <a:gd name="connsiteY553" fmla="*/ 4796178 h 10287000"/>
              <a:gd name="connsiteX554" fmla="*/ 2947385 w 9854218"/>
              <a:gd name="connsiteY554" fmla="*/ 4848713 h 10287000"/>
              <a:gd name="connsiteX555" fmla="*/ 3017699 w 9854218"/>
              <a:gd name="connsiteY555" fmla="*/ 5700701 h 10287000"/>
              <a:gd name="connsiteX556" fmla="*/ 3017195 w 9854218"/>
              <a:gd name="connsiteY556" fmla="*/ 5858349 h 10287000"/>
              <a:gd name="connsiteX557" fmla="*/ 3016649 w 9854218"/>
              <a:gd name="connsiteY557" fmla="*/ 6072003 h 10287000"/>
              <a:gd name="connsiteX558" fmla="*/ 3109499 w 9854218"/>
              <a:gd name="connsiteY558" fmla="*/ 6487352 h 10287000"/>
              <a:gd name="connsiteX559" fmla="*/ 3193523 w 9854218"/>
              <a:gd name="connsiteY559" fmla="*/ 6763580 h 10287000"/>
              <a:gd name="connsiteX560" fmla="*/ 3215621 w 9854218"/>
              <a:gd name="connsiteY560" fmla="*/ 6797463 h 10287000"/>
              <a:gd name="connsiteX561" fmla="*/ 3303474 w 9854218"/>
              <a:gd name="connsiteY561" fmla="*/ 6938549 h 10287000"/>
              <a:gd name="connsiteX562" fmla="*/ 3273834 w 9854218"/>
              <a:gd name="connsiteY562" fmla="*/ 6927000 h 10287000"/>
              <a:gd name="connsiteX563" fmla="*/ 3415644 w 9854218"/>
              <a:gd name="connsiteY563" fmla="*/ 7264004 h 10287000"/>
              <a:gd name="connsiteX564" fmla="*/ 3440762 w 9854218"/>
              <a:gd name="connsiteY564" fmla="*/ 7265252 h 10287000"/>
              <a:gd name="connsiteX565" fmla="*/ 3497912 w 9854218"/>
              <a:gd name="connsiteY565" fmla="*/ 7381436 h 10287000"/>
              <a:gd name="connsiteX566" fmla="*/ 3572770 w 9854218"/>
              <a:gd name="connsiteY566" fmla="*/ 7495980 h 10287000"/>
              <a:gd name="connsiteX567" fmla="*/ 3594125 w 9854218"/>
              <a:gd name="connsiteY567" fmla="*/ 7572603 h 10287000"/>
              <a:gd name="connsiteX568" fmla="*/ 3644740 w 9854218"/>
              <a:gd name="connsiteY568" fmla="*/ 7617936 h 10287000"/>
              <a:gd name="connsiteX569" fmla="*/ 3749616 w 9854218"/>
              <a:gd name="connsiteY569" fmla="*/ 7786866 h 10287000"/>
              <a:gd name="connsiteX570" fmla="*/ 3817064 w 9854218"/>
              <a:gd name="connsiteY570" fmla="*/ 7898523 h 10287000"/>
              <a:gd name="connsiteX571" fmla="*/ 3812542 w 9854218"/>
              <a:gd name="connsiteY571" fmla="*/ 7888224 h 10287000"/>
              <a:gd name="connsiteX572" fmla="*/ 3810908 w 9854218"/>
              <a:gd name="connsiteY572" fmla="*/ 7870512 h 10287000"/>
              <a:gd name="connsiteX573" fmla="*/ 3822840 w 9854218"/>
              <a:gd name="connsiteY573" fmla="*/ 7883699 h 10287000"/>
              <a:gd name="connsiteX574" fmla="*/ 3833136 w 9854218"/>
              <a:gd name="connsiteY574" fmla="*/ 7879172 h 10287000"/>
              <a:gd name="connsiteX575" fmla="*/ 3839292 w 9854218"/>
              <a:gd name="connsiteY575" fmla="*/ 7907186 h 10287000"/>
              <a:gd name="connsiteX576" fmla="*/ 3843814 w 9854218"/>
              <a:gd name="connsiteY576" fmla="*/ 7917485 h 10287000"/>
              <a:gd name="connsiteX577" fmla="*/ 3845448 w 9854218"/>
              <a:gd name="connsiteY577" fmla="*/ 7935197 h 10287000"/>
              <a:gd name="connsiteX578" fmla="*/ 3826106 w 9854218"/>
              <a:gd name="connsiteY578" fmla="*/ 7919123 h 10287000"/>
              <a:gd name="connsiteX579" fmla="*/ 3821928 w 9854218"/>
              <a:gd name="connsiteY579" fmla="*/ 7917495 h 10287000"/>
              <a:gd name="connsiteX580" fmla="*/ 4217118 w 9854218"/>
              <a:gd name="connsiteY580" fmla="*/ 8397302 h 10287000"/>
              <a:gd name="connsiteX581" fmla="*/ 4226942 w 9854218"/>
              <a:gd name="connsiteY581" fmla="*/ 8401994 h 10287000"/>
              <a:gd name="connsiteX582" fmla="*/ 4264216 w 9854218"/>
              <a:gd name="connsiteY582" fmla="*/ 8443161 h 10287000"/>
              <a:gd name="connsiteX583" fmla="*/ 4315950 w 9854218"/>
              <a:gd name="connsiteY583" fmla="*/ 8494650 h 10287000"/>
              <a:gd name="connsiteX584" fmla="*/ 4779590 w 9854218"/>
              <a:gd name="connsiteY584" fmla="*/ 8921636 h 10287000"/>
              <a:gd name="connsiteX585" fmla="*/ 5003136 w 9854218"/>
              <a:gd name="connsiteY585" fmla="*/ 9083376 h 10287000"/>
              <a:gd name="connsiteX586" fmla="*/ 5015632 w 9854218"/>
              <a:gd name="connsiteY586" fmla="*/ 9083552 h 10287000"/>
              <a:gd name="connsiteX587" fmla="*/ 5042230 w 9854218"/>
              <a:gd name="connsiteY587" fmla="*/ 9085005 h 10287000"/>
              <a:gd name="connsiteX588" fmla="*/ 5052194 w 9854218"/>
              <a:gd name="connsiteY588" fmla="*/ 9080643 h 10287000"/>
              <a:gd name="connsiteX589" fmla="*/ 4898326 w 9854218"/>
              <a:gd name="connsiteY589" fmla="*/ 8953278 h 10287000"/>
              <a:gd name="connsiteX590" fmla="*/ 4893268 w 9854218"/>
              <a:gd name="connsiteY590" fmla="*/ 8949717 h 10287000"/>
              <a:gd name="connsiteX591" fmla="*/ 4882082 w 9854218"/>
              <a:gd name="connsiteY591" fmla="*/ 8939832 h 10287000"/>
              <a:gd name="connsiteX592" fmla="*/ 4873380 w 9854218"/>
              <a:gd name="connsiteY592" fmla="*/ 8932628 h 10287000"/>
              <a:gd name="connsiteX593" fmla="*/ 4870010 w 9854218"/>
              <a:gd name="connsiteY593" fmla="*/ 8929164 h 10287000"/>
              <a:gd name="connsiteX594" fmla="*/ 4733957 w 9854218"/>
              <a:gd name="connsiteY594" fmla="*/ 8808936 h 10287000"/>
              <a:gd name="connsiteX595" fmla="*/ 4433788 w 9854218"/>
              <a:gd name="connsiteY595" fmla="*/ 8512905 h 10287000"/>
              <a:gd name="connsiteX596" fmla="*/ 4384469 w 9854218"/>
              <a:gd name="connsiteY596" fmla="*/ 8459937 h 10287000"/>
              <a:gd name="connsiteX597" fmla="*/ 4349390 w 9854218"/>
              <a:gd name="connsiteY597" fmla="*/ 8394454 h 10287000"/>
              <a:gd name="connsiteX598" fmla="*/ 4290320 w 9854218"/>
              <a:gd name="connsiteY598" fmla="*/ 8320214 h 10287000"/>
              <a:gd name="connsiteX599" fmla="*/ 4225055 w 9854218"/>
              <a:gd name="connsiteY599" fmla="*/ 8236626 h 10287000"/>
              <a:gd name="connsiteX600" fmla="*/ 4219649 w 9854218"/>
              <a:gd name="connsiteY600" fmla="*/ 8259875 h 10287000"/>
              <a:gd name="connsiteX601" fmla="*/ 4133375 w 9854218"/>
              <a:gd name="connsiteY601" fmla="*/ 8174462 h 10287000"/>
              <a:gd name="connsiteX602" fmla="*/ 4052508 w 9854218"/>
              <a:gd name="connsiteY602" fmla="*/ 8065806 h 10287000"/>
              <a:gd name="connsiteX603" fmla="*/ 4006766 w 9854218"/>
              <a:gd name="connsiteY603" fmla="*/ 7981653 h 10287000"/>
              <a:gd name="connsiteX604" fmla="*/ 3989472 w 9854218"/>
              <a:gd name="connsiteY604" fmla="*/ 7985799 h 10287000"/>
              <a:gd name="connsiteX605" fmla="*/ 3868270 w 9854218"/>
              <a:gd name="connsiteY605" fmla="*/ 7769745 h 10287000"/>
              <a:gd name="connsiteX606" fmla="*/ 3743464 w 9854218"/>
              <a:gd name="connsiteY606" fmla="*/ 7569188 h 10287000"/>
              <a:gd name="connsiteX607" fmla="*/ 3735718 w 9854218"/>
              <a:gd name="connsiteY607" fmla="*/ 7567386 h 10287000"/>
              <a:gd name="connsiteX608" fmla="*/ 3737522 w 9854218"/>
              <a:gd name="connsiteY608" fmla="*/ 7559636 h 10287000"/>
              <a:gd name="connsiteX609" fmla="*/ 3725634 w 9854218"/>
              <a:gd name="connsiteY609" fmla="*/ 7540536 h 10287000"/>
              <a:gd name="connsiteX610" fmla="*/ 3733379 w 9854218"/>
              <a:gd name="connsiteY610" fmla="*/ 7542338 h 10287000"/>
              <a:gd name="connsiteX611" fmla="*/ 3736644 w 9854218"/>
              <a:gd name="connsiteY611" fmla="*/ 7543607 h 10287000"/>
              <a:gd name="connsiteX612" fmla="*/ 3739324 w 9854218"/>
              <a:gd name="connsiteY612" fmla="*/ 7551888 h 10287000"/>
              <a:gd name="connsiteX613" fmla="*/ 3739932 w 9854218"/>
              <a:gd name="connsiteY613" fmla="*/ 7544883 h 10287000"/>
              <a:gd name="connsiteX614" fmla="*/ 3736644 w 9854218"/>
              <a:gd name="connsiteY614" fmla="*/ 7543607 h 10287000"/>
              <a:gd name="connsiteX615" fmla="*/ 3732942 w 9854218"/>
              <a:gd name="connsiteY615" fmla="*/ 7532154 h 10287000"/>
              <a:gd name="connsiteX616" fmla="*/ 3715014 w 9854218"/>
              <a:gd name="connsiteY616" fmla="*/ 7480890 h 10287000"/>
              <a:gd name="connsiteX617" fmla="*/ 3862522 w 9854218"/>
              <a:gd name="connsiteY617" fmla="*/ 7654056 h 10287000"/>
              <a:gd name="connsiteX618" fmla="*/ 3831539 w 9854218"/>
              <a:gd name="connsiteY618" fmla="*/ 7646849 h 10287000"/>
              <a:gd name="connsiteX619" fmla="*/ 4019918 w 9854218"/>
              <a:gd name="connsiteY619" fmla="*/ 7960209 h 10287000"/>
              <a:gd name="connsiteX620" fmla="*/ 4044958 w 9854218"/>
              <a:gd name="connsiteY620" fmla="*/ 7957865 h 10287000"/>
              <a:gd name="connsiteX621" fmla="*/ 4118078 w 9854218"/>
              <a:gd name="connsiteY621" fmla="*/ 8064722 h 10287000"/>
              <a:gd name="connsiteX622" fmla="*/ 4208492 w 9854218"/>
              <a:gd name="connsiteY622" fmla="*/ 8167431 h 10287000"/>
              <a:gd name="connsiteX623" fmla="*/ 4240546 w 9854218"/>
              <a:gd name="connsiteY623" fmla="*/ 8240231 h 10287000"/>
              <a:gd name="connsiteX624" fmla="*/ 4297103 w 9854218"/>
              <a:gd name="connsiteY624" fmla="*/ 8277890 h 10287000"/>
              <a:gd name="connsiteX625" fmla="*/ 4347194 w 9854218"/>
              <a:gd name="connsiteY625" fmla="*/ 8347739 h 10287000"/>
              <a:gd name="connsiteX626" fmla="*/ 4351784 w 9854218"/>
              <a:gd name="connsiteY626" fmla="*/ 8352600 h 10287000"/>
              <a:gd name="connsiteX627" fmla="*/ 4361840 w 9854218"/>
              <a:gd name="connsiteY627" fmla="*/ 8340473 h 10287000"/>
              <a:gd name="connsiteX628" fmla="*/ 4268230 w 9854218"/>
              <a:gd name="connsiteY628" fmla="*/ 8210715 h 10287000"/>
              <a:gd name="connsiteX629" fmla="*/ 4380947 w 9854218"/>
              <a:gd name="connsiteY629" fmla="*/ 8337401 h 10287000"/>
              <a:gd name="connsiteX630" fmla="*/ 4391542 w 9854218"/>
              <a:gd name="connsiteY630" fmla="*/ 8337747 h 10287000"/>
              <a:gd name="connsiteX631" fmla="*/ 4408034 w 9854218"/>
              <a:gd name="connsiteY631" fmla="*/ 8361078 h 10287000"/>
              <a:gd name="connsiteX632" fmla="*/ 4635240 w 9854218"/>
              <a:gd name="connsiteY632" fmla="*/ 8586590 h 10287000"/>
              <a:gd name="connsiteX633" fmla="*/ 5039628 w 9854218"/>
              <a:gd name="connsiteY633" fmla="*/ 8963541 h 10287000"/>
              <a:gd name="connsiteX634" fmla="*/ 5454780 w 9854218"/>
              <a:gd name="connsiteY634" fmla="*/ 9255388 h 10287000"/>
              <a:gd name="connsiteX635" fmla="*/ 5905180 w 9854218"/>
              <a:gd name="connsiteY635" fmla="*/ 9536937 h 10287000"/>
              <a:gd name="connsiteX636" fmla="*/ 4854150 w 9854218"/>
              <a:gd name="connsiteY636" fmla="*/ 8681319 h 10287000"/>
              <a:gd name="connsiteX637" fmla="*/ 4576214 w 9854218"/>
              <a:gd name="connsiteY637" fmla="*/ 8371013 h 10287000"/>
              <a:gd name="connsiteX638" fmla="*/ 4394212 w 9854218"/>
              <a:gd name="connsiteY638" fmla="*/ 8183049 h 10287000"/>
              <a:gd name="connsiteX639" fmla="*/ 4349627 w 9854218"/>
              <a:gd name="connsiteY639" fmla="*/ 8105747 h 10287000"/>
              <a:gd name="connsiteX640" fmla="*/ 4344314 w 9854218"/>
              <a:gd name="connsiteY640" fmla="*/ 8098556 h 10287000"/>
              <a:gd name="connsiteX641" fmla="*/ 4243772 w 9854218"/>
              <a:gd name="connsiteY641" fmla="*/ 7987931 h 10287000"/>
              <a:gd name="connsiteX642" fmla="*/ 3267006 w 9854218"/>
              <a:gd name="connsiteY642" fmla="*/ 6235823 h 10287000"/>
              <a:gd name="connsiteX643" fmla="*/ 3211728 w 9854218"/>
              <a:gd name="connsiteY643" fmla="*/ 6031370 h 10287000"/>
              <a:gd name="connsiteX644" fmla="*/ 3206867 w 9854218"/>
              <a:gd name="connsiteY644" fmla="*/ 6033956 h 10287000"/>
              <a:gd name="connsiteX645" fmla="*/ 3199584 w 9854218"/>
              <a:gd name="connsiteY645" fmla="*/ 6028499 h 10287000"/>
              <a:gd name="connsiteX646" fmla="*/ 3192322 w 9854218"/>
              <a:gd name="connsiteY646" fmla="*/ 6019941 h 10287000"/>
              <a:gd name="connsiteX647" fmla="*/ 3227930 w 9854218"/>
              <a:gd name="connsiteY647" fmla="*/ 6178428 h 10287000"/>
              <a:gd name="connsiteX648" fmla="*/ 3224717 w 9854218"/>
              <a:gd name="connsiteY648" fmla="*/ 6218504 h 10287000"/>
              <a:gd name="connsiteX649" fmla="*/ 3221740 w 9854218"/>
              <a:gd name="connsiteY649" fmla="*/ 6219554 h 10287000"/>
              <a:gd name="connsiteX650" fmla="*/ 3233850 w 9854218"/>
              <a:gd name="connsiteY650" fmla="*/ 6276857 h 10287000"/>
              <a:gd name="connsiteX651" fmla="*/ 3262542 w 9854218"/>
              <a:gd name="connsiteY651" fmla="*/ 6371084 h 10287000"/>
              <a:gd name="connsiteX652" fmla="*/ 3286976 w 9854218"/>
              <a:gd name="connsiteY652" fmla="*/ 6377040 h 10287000"/>
              <a:gd name="connsiteX653" fmla="*/ 3321210 w 9854218"/>
              <a:gd name="connsiteY653" fmla="*/ 6501911 h 10287000"/>
              <a:gd name="connsiteX654" fmla="*/ 3373146 w 9854218"/>
              <a:gd name="connsiteY654" fmla="*/ 6628508 h 10287000"/>
              <a:gd name="connsiteX655" fmla="*/ 3379682 w 9854218"/>
              <a:gd name="connsiteY655" fmla="*/ 6707784 h 10287000"/>
              <a:gd name="connsiteX656" fmla="*/ 3420848 w 9854218"/>
              <a:gd name="connsiteY656" fmla="*/ 6761841 h 10287000"/>
              <a:gd name="connsiteX657" fmla="*/ 3492018 w 9854218"/>
              <a:gd name="connsiteY657" fmla="*/ 6947505 h 10287000"/>
              <a:gd name="connsiteX658" fmla="*/ 3537221 w 9854218"/>
              <a:gd name="connsiteY658" fmla="*/ 7069871 h 10287000"/>
              <a:gd name="connsiteX659" fmla="*/ 3534720 w 9854218"/>
              <a:gd name="connsiteY659" fmla="*/ 7058904 h 10287000"/>
              <a:gd name="connsiteX660" fmla="*/ 3536454 w 9854218"/>
              <a:gd name="connsiteY660" fmla="*/ 7041201 h 10287000"/>
              <a:gd name="connsiteX661" fmla="*/ 3545687 w 9854218"/>
              <a:gd name="connsiteY661" fmla="*/ 7056398 h 10287000"/>
              <a:gd name="connsiteX662" fmla="*/ 3556652 w 9854218"/>
              <a:gd name="connsiteY662" fmla="*/ 7053894 h 10287000"/>
              <a:gd name="connsiteX663" fmla="*/ 3557422 w 9854218"/>
              <a:gd name="connsiteY663" fmla="*/ 7082565 h 10287000"/>
              <a:gd name="connsiteX664" fmla="*/ 3559922 w 9854218"/>
              <a:gd name="connsiteY664" fmla="*/ 7093532 h 10287000"/>
              <a:gd name="connsiteX665" fmla="*/ 3558190 w 9854218"/>
              <a:gd name="connsiteY665" fmla="*/ 7111235 h 10287000"/>
              <a:gd name="connsiteX666" fmla="*/ 3542222 w 9854218"/>
              <a:gd name="connsiteY666" fmla="*/ 7091805 h 10287000"/>
              <a:gd name="connsiteX667" fmla="*/ 3516058 w 9854218"/>
              <a:gd name="connsiteY667" fmla="*/ 7103550 h 10287000"/>
              <a:gd name="connsiteX668" fmla="*/ 3433152 w 9854218"/>
              <a:gd name="connsiteY668" fmla="*/ 6891720 h 10287000"/>
              <a:gd name="connsiteX669" fmla="*/ 3366216 w 9854218"/>
              <a:gd name="connsiteY669" fmla="*/ 6699320 h 10287000"/>
              <a:gd name="connsiteX670" fmla="*/ 3353518 w 9854218"/>
              <a:gd name="connsiteY670" fmla="*/ 6719529 h 10287000"/>
              <a:gd name="connsiteX671" fmla="*/ 3299850 w 9854218"/>
              <a:gd name="connsiteY671" fmla="*/ 6610635 h 10287000"/>
              <a:gd name="connsiteX672" fmla="*/ 3258880 w 9854218"/>
              <a:gd name="connsiteY672" fmla="*/ 6481532 h 10287000"/>
              <a:gd name="connsiteX673" fmla="*/ 3243110 w 9854218"/>
              <a:gd name="connsiteY673" fmla="*/ 6387060 h 10287000"/>
              <a:gd name="connsiteX674" fmla="*/ 3225413 w 9854218"/>
              <a:gd name="connsiteY674" fmla="*/ 6385334 h 10287000"/>
              <a:gd name="connsiteX675" fmla="*/ 3193292 w 9854218"/>
              <a:gd name="connsiteY675" fmla="*/ 6257094 h 10287000"/>
              <a:gd name="connsiteX676" fmla="*/ 3186686 w 9854218"/>
              <a:gd name="connsiteY676" fmla="*/ 6225378 h 10287000"/>
              <a:gd name="connsiteX677" fmla="*/ 3176492 w 9854218"/>
              <a:gd name="connsiteY677" fmla="*/ 6225662 h 10287000"/>
              <a:gd name="connsiteX678" fmla="*/ 3162320 w 9854218"/>
              <a:gd name="connsiteY678" fmla="*/ 6199470 h 10287000"/>
              <a:gd name="connsiteX679" fmla="*/ 3154300 w 9854218"/>
              <a:gd name="connsiteY679" fmla="*/ 6149984 h 10287000"/>
              <a:gd name="connsiteX680" fmla="*/ 2993406 w 9854218"/>
              <a:gd name="connsiteY680" fmla="*/ 4859490 h 10287000"/>
              <a:gd name="connsiteX681" fmla="*/ 2966222 w 9854218"/>
              <a:gd name="connsiteY681" fmla="*/ 4796178 h 10287000"/>
              <a:gd name="connsiteX682" fmla="*/ 175099 w 9854218"/>
              <a:gd name="connsiteY682" fmla="*/ 4684419 h 10287000"/>
              <a:gd name="connsiteX683" fmla="*/ 171418 w 9854218"/>
              <a:gd name="connsiteY683" fmla="*/ 4693523 h 10287000"/>
              <a:gd name="connsiteX684" fmla="*/ 166832 w 9854218"/>
              <a:gd name="connsiteY684" fmla="*/ 4715702 h 10287000"/>
              <a:gd name="connsiteX685" fmla="*/ 154717 w 9854218"/>
              <a:gd name="connsiteY685" fmla="*/ 4696059 h 10287000"/>
              <a:gd name="connsiteX686" fmla="*/ 153653 w 9854218"/>
              <a:gd name="connsiteY686" fmla="*/ 4696379 h 10287000"/>
              <a:gd name="connsiteX687" fmla="*/ 162041 w 9854218"/>
              <a:gd name="connsiteY687" fmla="*/ 4772906 h 10287000"/>
              <a:gd name="connsiteX688" fmla="*/ 169337 w 9854218"/>
              <a:gd name="connsiteY688" fmla="*/ 4750575 h 10287000"/>
              <a:gd name="connsiteX689" fmla="*/ 174475 w 9854218"/>
              <a:gd name="connsiteY689" fmla="*/ 4695869 h 10287000"/>
              <a:gd name="connsiteX690" fmla="*/ 1004585 w 9854218"/>
              <a:gd name="connsiteY690" fmla="*/ 4636356 h 10287000"/>
              <a:gd name="connsiteX691" fmla="*/ 970019 w 9854218"/>
              <a:gd name="connsiteY691" fmla="*/ 4725380 h 10287000"/>
              <a:gd name="connsiteX692" fmla="*/ 965716 w 9854218"/>
              <a:gd name="connsiteY692" fmla="*/ 4750385 h 10287000"/>
              <a:gd name="connsiteX693" fmla="*/ 970034 w 9854218"/>
              <a:gd name="connsiteY693" fmla="*/ 4774376 h 10287000"/>
              <a:gd name="connsiteX694" fmla="*/ 965494 w 9854218"/>
              <a:gd name="connsiteY694" fmla="*/ 4831253 h 10287000"/>
              <a:gd name="connsiteX695" fmla="*/ 954268 w 9854218"/>
              <a:gd name="connsiteY695" fmla="*/ 4826603 h 10287000"/>
              <a:gd name="connsiteX696" fmla="*/ 953048 w 9854218"/>
              <a:gd name="connsiteY696" fmla="*/ 4824008 h 10287000"/>
              <a:gd name="connsiteX697" fmla="*/ 950050 w 9854218"/>
              <a:gd name="connsiteY697" fmla="*/ 4841435 h 10287000"/>
              <a:gd name="connsiteX698" fmla="*/ 943958 w 9854218"/>
              <a:gd name="connsiteY698" fmla="*/ 4841435 h 10287000"/>
              <a:gd name="connsiteX699" fmla="*/ 931352 w 9854218"/>
              <a:gd name="connsiteY699" fmla="*/ 4963230 h 10287000"/>
              <a:gd name="connsiteX700" fmla="*/ 929729 w 9854218"/>
              <a:gd name="connsiteY700" fmla="*/ 5122931 h 10287000"/>
              <a:gd name="connsiteX701" fmla="*/ 948533 w 9854218"/>
              <a:gd name="connsiteY701" fmla="*/ 5133290 h 10287000"/>
              <a:gd name="connsiteX702" fmla="*/ 948890 w 9854218"/>
              <a:gd name="connsiteY702" fmla="*/ 5243817 h 10287000"/>
              <a:gd name="connsiteX703" fmla="*/ 963448 w 9854218"/>
              <a:gd name="connsiteY703" fmla="*/ 5359716 h 10287000"/>
              <a:gd name="connsiteX704" fmla="*/ 951149 w 9854218"/>
              <a:gd name="connsiteY704" fmla="*/ 5426495 h 10287000"/>
              <a:gd name="connsiteX705" fmla="*/ 973013 w 9854218"/>
              <a:gd name="connsiteY705" fmla="*/ 5480220 h 10287000"/>
              <a:gd name="connsiteX706" fmla="*/ 974866 w 9854218"/>
              <a:gd name="connsiteY706" fmla="*/ 5553570 h 10287000"/>
              <a:gd name="connsiteX707" fmla="*/ 983561 w 9854218"/>
              <a:gd name="connsiteY707" fmla="*/ 5607579 h 10287000"/>
              <a:gd name="connsiteX708" fmla="*/ 983264 w 9854218"/>
              <a:gd name="connsiteY708" fmla="*/ 5603807 h 10287000"/>
              <a:gd name="connsiteX709" fmla="*/ 988007 w 9854218"/>
              <a:gd name="connsiteY709" fmla="*/ 5562681 h 10287000"/>
              <a:gd name="connsiteX710" fmla="*/ 1013318 w 9854218"/>
              <a:gd name="connsiteY710" fmla="*/ 5638604 h 10287000"/>
              <a:gd name="connsiteX711" fmla="*/ 1000663 w 9854218"/>
              <a:gd name="connsiteY711" fmla="*/ 5474109 h 10287000"/>
              <a:gd name="connsiteX712" fmla="*/ 1051279 w 9854218"/>
              <a:gd name="connsiteY712" fmla="*/ 5423496 h 10287000"/>
              <a:gd name="connsiteX713" fmla="*/ 1051136 w 9854218"/>
              <a:gd name="connsiteY713" fmla="*/ 5420049 h 10287000"/>
              <a:gd name="connsiteX714" fmla="*/ 1044272 w 9854218"/>
              <a:gd name="connsiteY714" fmla="*/ 5328966 h 10287000"/>
              <a:gd name="connsiteX715" fmla="*/ 1037272 w 9854218"/>
              <a:gd name="connsiteY715" fmla="*/ 5223147 h 10287000"/>
              <a:gd name="connsiteX716" fmla="*/ 1019735 w 9854218"/>
              <a:gd name="connsiteY716" fmla="*/ 5239334 h 10287000"/>
              <a:gd name="connsiteX717" fmla="*/ 996383 w 9854218"/>
              <a:gd name="connsiteY717" fmla="*/ 5120201 h 10287000"/>
              <a:gd name="connsiteX718" fmla="*/ 990572 w 9854218"/>
              <a:gd name="connsiteY718" fmla="*/ 4984880 h 10287000"/>
              <a:gd name="connsiteX719" fmla="*/ 1000037 w 9854218"/>
              <a:gd name="connsiteY719" fmla="*/ 4889568 h 10287000"/>
              <a:gd name="connsiteX720" fmla="*/ 983404 w 9854218"/>
              <a:gd name="connsiteY720" fmla="*/ 4883276 h 10287000"/>
              <a:gd name="connsiteX721" fmla="*/ 1004594 w 9854218"/>
              <a:gd name="connsiteY721" fmla="*/ 4636457 h 10287000"/>
              <a:gd name="connsiteX722" fmla="*/ 149099 w 9854218"/>
              <a:gd name="connsiteY722" fmla="*/ 4457675 h 10287000"/>
              <a:gd name="connsiteX723" fmla="*/ 143266 w 9854218"/>
              <a:gd name="connsiteY723" fmla="*/ 4491044 h 10287000"/>
              <a:gd name="connsiteX724" fmla="*/ 143735 w 9854218"/>
              <a:gd name="connsiteY724" fmla="*/ 4525754 h 10287000"/>
              <a:gd name="connsiteX725" fmla="*/ 149555 w 9854218"/>
              <a:gd name="connsiteY725" fmla="*/ 4628400 h 10287000"/>
              <a:gd name="connsiteX726" fmla="*/ 152983 w 9854218"/>
              <a:gd name="connsiteY726" fmla="*/ 4628075 h 10287000"/>
              <a:gd name="connsiteX727" fmla="*/ 169382 w 9854218"/>
              <a:gd name="connsiteY727" fmla="*/ 4644875 h 10287000"/>
              <a:gd name="connsiteX728" fmla="*/ 177158 w 9854218"/>
              <a:gd name="connsiteY728" fmla="*/ 4646628 h 10287000"/>
              <a:gd name="connsiteX729" fmla="*/ 178010 w 9854218"/>
              <a:gd name="connsiteY729" fmla="*/ 4630940 h 10287000"/>
              <a:gd name="connsiteX730" fmla="*/ 193639 w 9854218"/>
              <a:gd name="connsiteY730" fmla="*/ 4527261 h 10287000"/>
              <a:gd name="connsiteX731" fmla="*/ 183061 w 9854218"/>
              <a:gd name="connsiteY731" fmla="*/ 4491354 h 10287000"/>
              <a:gd name="connsiteX732" fmla="*/ 184220 w 9854218"/>
              <a:gd name="connsiteY732" fmla="*/ 4484595 h 10287000"/>
              <a:gd name="connsiteX733" fmla="*/ 164446 w 9854218"/>
              <a:gd name="connsiteY733" fmla="*/ 4477784 h 10287000"/>
              <a:gd name="connsiteX734" fmla="*/ 1160026 w 9854218"/>
              <a:gd name="connsiteY734" fmla="*/ 4212987 h 10287000"/>
              <a:gd name="connsiteX735" fmla="*/ 1147762 w 9854218"/>
              <a:gd name="connsiteY735" fmla="*/ 4244943 h 10287000"/>
              <a:gd name="connsiteX736" fmla="*/ 1127200 w 9854218"/>
              <a:gd name="connsiteY736" fmla="*/ 4297337 h 10287000"/>
              <a:gd name="connsiteX737" fmla="*/ 1101892 w 9854218"/>
              <a:gd name="connsiteY737" fmla="*/ 4525101 h 10287000"/>
              <a:gd name="connsiteX738" fmla="*/ 1089239 w 9854218"/>
              <a:gd name="connsiteY738" fmla="*/ 4474485 h 10287000"/>
              <a:gd name="connsiteX739" fmla="*/ 1066336 w 9854218"/>
              <a:gd name="connsiteY739" fmla="*/ 4519083 h 10287000"/>
              <a:gd name="connsiteX740" fmla="*/ 1064863 w 9854218"/>
              <a:gd name="connsiteY740" fmla="*/ 4537541 h 10287000"/>
              <a:gd name="connsiteX741" fmla="*/ 1057318 w 9854218"/>
              <a:gd name="connsiteY741" fmla="*/ 4539261 h 10287000"/>
              <a:gd name="connsiteX742" fmla="*/ 1056508 w 9854218"/>
              <a:gd name="connsiteY742" fmla="*/ 4538223 h 10287000"/>
              <a:gd name="connsiteX743" fmla="*/ 1047917 w 9854218"/>
              <a:gd name="connsiteY743" fmla="*/ 4554953 h 10287000"/>
              <a:gd name="connsiteX744" fmla="*/ 1037087 w 9854218"/>
              <a:gd name="connsiteY744" fmla="*/ 4575152 h 10287000"/>
              <a:gd name="connsiteX745" fmla="*/ 1033973 w 9854218"/>
              <a:gd name="connsiteY745" fmla="*/ 4605788 h 10287000"/>
              <a:gd name="connsiteX746" fmla="*/ 1022969 w 9854218"/>
              <a:gd name="connsiteY746" fmla="*/ 4879224 h 10287000"/>
              <a:gd name="connsiteX747" fmla="*/ 1044995 w 9854218"/>
              <a:gd name="connsiteY747" fmla="*/ 4891359 h 10287000"/>
              <a:gd name="connsiteX748" fmla="*/ 1045415 w 9854218"/>
              <a:gd name="connsiteY748" fmla="*/ 5020836 h 10287000"/>
              <a:gd name="connsiteX749" fmla="*/ 1045849 w 9854218"/>
              <a:gd name="connsiteY749" fmla="*/ 5079956 h 10287000"/>
              <a:gd name="connsiteX750" fmla="*/ 1053521 w 9854218"/>
              <a:gd name="connsiteY750" fmla="*/ 5115344 h 10287000"/>
              <a:gd name="connsiteX751" fmla="*/ 1054442 w 9854218"/>
              <a:gd name="connsiteY751" fmla="*/ 5115068 h 10287000"/>
              <a:gd name="connsiteX752" fmla="*/ 1051282 w 9854218"/>
              <a:gd name="connsiteY752" fmla="*/ 5081852 h 10287000"/>
              <a:gd name="connsiteX753" fmla="*/ 1101892 w 9854218"/>
              <a:gd name="connsiteY753" fmla="*/ 5119812 h 10287000"/>
              <a:gd name="connsiteX754" fmla="*/ 1228429 w 9854218"/>
              <a:gd name="connsiteY754" fmla="*/ 5448803 h 10287000"/>
              <a:gd name="connsiteX755" fmla="*/ 1223684 w 9854218"/>
              <a:gd name="connsiteY755" fmla="*/ 5338083 h 10287000"/>
              <a:gd name="connsiteX756" fmla="*/ 1227343 w 9854218"/>
              <a:gd name="connsiteY756" fmla="*/ 5267367 h 10287000"/>
              <a:gd name="connsiteX757" fmla="*/ 1220456 w 9854218"/>
              <a:gd name="connsiteY757" fmla="*/ 5226296 h 10287000"/>
              <a:gd name="connsiteX758" fmla="*/ 1216210 w 9854218"/>
              <a:gd name="connsiteY758" fmla="*/ 5121995 h 10287000"/>
              <a:gd name="connsiteX759" fmla="*/ 1201873 w 9854218"/>
              <a:gd name="connsiteY759" fmla="*/ 4918788 h 10287000"/>
              <a:gd name="connsiteX760" fmla="*/ 1184335 w 9854218"/>
              <a:gd name="connsiteY760" fmla="*/ 4934976 h 10287000"/>
              <a:gd name="connsiteX761" fmla="*/ 1160984 w 9854218"/>
              <a:gd name="connsiteY761" fmla="*/ 4815842 h 10287000"/>
              <a:gd name="connsiteX762" fmla="*/ 1155173 w 9854218"/>
              <a:gd name="connsiteY762" fmla="*/ 4680522 h 10287000"/>
              <a:gd name="connsiteX763" fmla="*/ 1164637 w 9854218"/>
              <a:gd name="connsiteY763" fmla="*/ 4585209 h 10287000"/>
              <a:gd name="connsiteX764" fmla="*/ 1148003 w 9854218"/>
              <a:gd name="connsiteY764" fmla="*/ 4578918 h 10287000"/>
              <a:gd name="connsiteX765" fmla="*/ 1169194 w 9854218"/>
              <a:gd name="connsiteY765" fmla="*/ 4332098 h 10287000"/>
              <a:gd name="connsiteX766" fmla="*/ 1158937 w 9854218"/>
              <a:gd name="connsiteY766" fmla="*/ 4219817 h 10287000"/>
              <a:gd name="connsiteX767" fmla="*/ 91588 w 9854218"/>
              <a:gd name="connsiteY767" fmla="*/ 4168734 h 10287000"/>
              <a:gd name="connsiteX768" fmla="*/ 83972 w 9854218"/>
              <a:gd name="connsiteY768" fmla="*/ 4316366 h 10287000"/>
              <a:gd name="connsiteX769" fmla="*/ 74405 w 9854218"/>
              <a:gd name="connsiteY769" fmla="*/ 4340697 h 10287000"/>
              <a:gd name="connsiteX770" fmla="*/ 82370 w 9854218"/>
              <a:gd name="connsiteY770" fmla="*/ 4347356 h 10287000"/>
              <a:gd name="connsiteX771" fmla="*/ 83972 w 9854218"/>
              <a:gd name="connsiteY771" fmla="*/ 4316366 h 10287000"/>
              <a:gd name="connsiteX772" fmla="*/ 86419 w 9854218"/>
              <a:gd name="connsiteY772" fmla="*/ 4310133 h 10287000"/>
              <a:gd name="connsiteX773" fmla="*/ 95689 w 9854218"/>
              <a:gd name="connsiteY773" fmla="*/ 4331417 h 10287000"/>
              <a:gd name="connsiteX774" fmla="*/ 100619 w 9854218"/>
              <a:gd name="connsiteY774" fmla="*/ 4335539 h 10287000"/>
              <a:gd name="connsiteX775" fmla="*/ 104017 w 9854218"/>
              <a:gd name="connsiteY775" fmla="*/ 4168869 h 10287000"/>
              <a:gd name="connsiteX776" fmla="*/ 93514 w 9854218"/>
              <a:gd name="connsiteY776" fmla="*/ 4171199 h 10287000"/>
              <a:gd name="connsiteX777" fmla="*/ 1747226 w 9854218"/>
              <a:gd name="connsiteY777" fmla="*/ 4145492 h 10287000"/>
              <a:gd name="connsiteX778" fmla="*/ 1747224 w 9854218"/>
              <a:gd name="connsiteY778" fmla="*/ 4196109 h 10287000"/>
              <a:gd name="connsiteX779" fmla="*/ 1734570 w 9854218"/>
              <a:gd name="connsiteY779" fmla="*/ 4221414 h 10287000"/>
              <a:gd name="connsiteX780" fmla="*/ 1734570 w 9854218"/>
              <a:gd name="connsiteY780" fmla="*/ 4208762 h 10287000"/>
              <a:gd name="connsiteX781" fmla="*/ 1734570 w 9854218"/>
              <a:gd name="connsiteY781" fmla="*/ 4196109 h 10287000"/>
              <a:gd name="connsiteX782" fmla="*/ 1734570 w 9854218"/>
              <a:gd name="connsiteY782" fmla="*/ 4183452 h 10287000"/>
              <a:gd name="connsiteX783" fmla="*/ 1747226 w 9854218"/>
              <a:gd name="connsiteY783" fmla="*/ 4145492 h 10287000"/>
              <a:gd name="connsiteX784" fmla="*/ 302197 w 9854218"/>
              <a:gd name="connsiteY784" fmla="*/ 4128171 h 10287000"/>
              <a:gd name="connsiteX785" fmla="*/ 270673 w 9854218"/>
              <a:gd name="connsiteY785" fmla="*/ 4206978 h 10287000"/>
              <a:gd name="connsiteX786" fmla="*/ 244402 w 9854218"/>
              <a:gd name="connsiteY786" fmla="*/ 4427628 h 10287000"/>
              <a:gd name="connsiteX787" fmla="*/ 233195 w 9854218"/>
              <a:gd name="connsiteY787" fmla="*/ 4459299 h 10287000"/>
              <a:gd name="connsiteX788" fmla="*/ 228695 w 9854218"/>
              <a:gd name="connsiteY788" fmla="*/ 4527801 h 10287000"/>
              <a:gd name="connsiteX789" fmla="*/ 220168 w 9854218"/>
              <a:gd name="connsiteY789" fmla="*/ 4693059 h 10287000"/>
              <a:gd name="connsiteX790" fmla="*/ 210602 w 9854218"/>
              <a:gd name="connsiteY790" fmla="*/ 4717389 h 10287000"/>
              <a:gd name="connsiteX791" fmla="*/ 218566 w 9854218"/>
              <a:gd name="connsiteY791" fmla="*/ 4724043 h 10287000"/>
              <a:gd name="connsiteX792" fmla="*/ 220168 w 9854218"/>
              <a:gd name="connsiteY792" fmla="*/ 4693059 h 10287000"/>
              <a:gd name="connsiteX793" fmla="*/ 222616 w 9854218"/>
              <a:gd name="connsiteY793" fmla="*/ 4686827 h 10287000"/>
              <a:gd name="connsiteX794" fmla="*/ 231886 w 9854218"/>
              <a:gd name="connsiteY794" fmla="*/ 4708109 h 10287000"/>
              <a:gd name="connsiteX795" fmla="*/ 239851 w 9854218"/>
              <a:gd name="connsiteY795" fmla="*/ 4714763 h 10287000"/>
              <a:gd name="connsiteX796" fmla="*/ 292363 w 9854218"/>
              <a:gd name="connsiteY796" fmla="*/ 4312007 h 10287000"/>
              <a:gd name="connsiteX797" fmla="*/ 323828 w 9854218"/>
              <a:gd name="connsiteY797" fmla="*/ 4208169 h 10287000"/>
              <a:gd name="connsiteX798" fmla="*/ 322393 w 9854218"/>
              <a:gd name="connsiteY798" fmla="*/ 4195155 h 10287000"/>
              <a:gd name="connsiteX799" fmla="*/ 302197 w 9854218"/>
              <a:gd name="connsiteY799" fmla="*/ 4128171 h 10287000"/>
              <a:gd name="connsiteX800" fmla="*/ 136856 w 9854218"/>
              <a:gd name="connsiteY800" fmla="*/ 4085625 h 10287000"/>
              <a:gd name="connsiteX801" fmla="*/ 122686 w 9854218"/>
              <a:gd name="connsiteY801" fmla="*/ 4126770 h 10287000"/>
              <a:gd name="connsiteX802" fmla="*/ 116063 w 9854218"/>
              <a:gd name="connsiteY802" fmla="*/ 4254851 h 10287000"/>
              <a:gd name="connsiteX803" fmla="*/ 115835 w 9854218"/>
              <a:gd name="connsiteY803" fmla="*/ 4265180 h 10287000"/>
              <a:gd name="connsiteX804" fmla="*/ 132179 w 9854218"/>
              <a:gd name="connsiteY804" fmla="*/ 4167393 h 10287000"/>
              <a:gd name="connsiteX805" fmla="*/ 132100 w 9854218"/>
              <a:gd name="connsiteY805" fmla="*/ 4159281 h 10287000"/>
              <a:gd name="connsiteX806" fmla="*/ 146296 w 9854218"/>
              <a:gd name="connsiteY806" fmla="*/ 3904146 h 10287000"/>
              <a:gd name="connsiteX807" fmla="*/ 139528 w 9854218"/>
              <a:gd name="connsiteY807" fmla="*/ 3914934 h 10287000"/>
              <a:gd name="connsiteX808" fmla="*/ 142351 w 9854218"/>
              <a:gd name="connsiteY808" fmla="*/ 3988856 h 10287000"/>
              <a:gd name="connsiteX809" fmla="*/ 142147 w 9854218"/>
              <a:gd name="connsiteY809" fmla="*/ 4003731 h 10287000"/>
              <a:gd name="connsiteX810" fmla="*/ 148504 w 9854218"/>
              <a:gd name="connsiteY810" fmla="*/ 3905261 h 10287000"/>
              <a:gd name="connsiteX811" fmla="*/ 166543 w 9854218"/>
              <a:gd name="connsiteY811" fmla="*/ 3359468 h 10287000"/>
              <a:gd name="connsiteX812" fmla="*/ 161255 w 9854218"/>
              <a:gd name="connsiteY812" fmla="*/ 3361278 h 10287000"/>
              <a:gd name="connsiteX813" fmla="*/ 150472 w 9854218"/>
              <a:gd name="connsiteY813" fmla="*/ 3399543 h 10287000"/>
              <a:gd name="connsiteX814" fmla="*/ 154664 w 9854218"/>
              <a:gd name="connsiteY814" fmla="*/ 3409040 h 10287000"/>
              <a:gd name="connsiteX815" fmla="*/ 159973 w 9854218"/>
              <a:gd name="connsiteY815" fmla="*/ 3395351 h 10287000"/>
              <a:gd name="connsiteX816" fmla="*/ 164165 w 9854218"/>
              <a:gd name="connsiteY816" fmla="*/ 3404847 h 10287000"/>
              <a:gd name="connsiteX817" fmla="*/ 168355 w 9854218"/>
              <a:gd name="connsiteY817" fmla="*/ 3414344 h 10287000"/>
              <a:gd name="connsiteX818" fmla="*/ 163045 w 9854218"/>
              <a:gd name="connsiteY818" fmla="*/ 3428033 h 10287000"/>
              <a:gd name="connsiteX819" fmla="*/ 153542 w 9854218"/>
              <a:gd name="connsiteY819" fmla="*/ 3432227 h 10287000"/>
              <a:gd name="connsiteX820" fmla="*/ 150184 w 9854218"/>
              <a:gd name="connsiteY820" fmla="*/ 3501785 h 10287000"/>
              <a:gd name="connsiteX821" fmla="*/ 145991 w 9854218"/>
              <a:gd name="connsiteY821" fmla="*/ 3492288 h 10287000"/>
              <a:gd name="connsiteX822" fmla="*/ 144872 w 9854218"/>
              <a:gd name="connsiteY822" fmla="*/ 3515475 h 10287000"/>
              <a:gd name="connsiteX823" fmla="*/ 139562 w 9854218"/>
              <a:gd name="connsiteY823" fmla="*/ 3529161 h 10287000"/>
              <a:gd name="connsiteX824" fmla="*/ 135371 w 9854218"/>
              <a:gd name="connsiteY824" fmla="*/ 3519663 h 10287000"/>
              <a:gd name="connsiteX825" fmla="*/ 131180 w 9854218"/>
              <a:gd name="connsiteY825" fmla="*/ 3510168 h 10287000"/>
              <a:gd name="connsiteX826" fmla="*/ 85049 w 9854218"/>
              <a:gd name="connsiteY826" fmla="*/ 3791483 h 10287000"/>
              <a:gd name="connsiteX827" fmla="*/ 153794 w 9854218"/>
              <a:gd name="connsiteY827" fmla="*/ 3715758 h 10287000"/>
              <a:gd name="connsiteX828" fmla="*/ 156463 w 9854218"/>
              <a:gd name="connsiteY828" fmla="*/ 3768831 h 10287000"/>
              <a:gd name="connsiteX829" fmla="*/ 166171 w 9854218"/>
              <a:gd name="connsiteY829" fmla="*/ 3765864 h 10287000"/>
              <a:gd name="connsiteX830" fmla="*/ 197119 w 9854218"/>
              <a:gd name="connsiteY830" fmla="*/ 3566031 h 10287000"/>
              <a:gd name="connsiteX831" fmla="*/ 236113 w 9854218"/>
              <a:gd name="connsiteY831" fmla="*/ 3380820 h 10287000"/>
              <a:gd name="connsiteX832" fmla="*/ 224242 w 9854218"/>
              <a:gd name="connsiteY832" fmla="*/ 3412373 h 10287000"/>
              <a:gd name="connsiteX833" fmla="*/ 203290 w 9854218"/>
              <a:gd name="connsiteY833" fmla="*/ 3364890 h 10287000"/>
              <a:gd name="connsiteX834" fmla="*/ 178976 w 9854218"/>
              <a:gd name="connsiteY834" fmla="*/ 3386964 h 10287000"/>
              <a:gd name="connsiteX835" fmla="*/ 166543 w 9854218"/>
              <a:gd name="connsiteY835" fmla="*/ 3359468 h 10287000"/>
              <a:gd name="connsiteX836" fmla="*/ 675232 w 9854218"/>
              <a:gd name="connsiteY836" fmla="*/ 2205345 h 10287000"/>
              <a:gd name="connsiteX837" fmla="*/ 598391 w 9854218"/>
              <a:gd name="connsiteY837" fmla="*/ 2271671 h 10287000"/>
              <a:gd name="connsiteX838" fmla="*/ 595514 w 9854218"/>
              <a:gd name="connsiteY838" fmla="*/ 2273613 h 10287000"/>
              <a:gd name="connsiteX839" fmla="*/ 593956 w 9854218"/>
              <a:gd name="connsiteY839" fmla="*/ 2282829 h 10287000"/>
              <a:gd name="connsiteX840" fmla="*/ 575621 w 9854218"/>
              <a:gd name="connsiteY840" fmla="*/ 2365005 h 10287000"/>
              <a:gd name="connsiteX841" fmla="*/ 513883 w 9854218"/>
              <a:gd name="connsiteY841" fmla="*/ 2537843 h 10287000"/>
              <a:gd name="connsiteX842" fmla="*/ 507934 w 9854218"/>
              <a:gd name="connsiteY842" fmla="*/ 2563505 h 10287000"/>
              <a:gd name="connsiteX843" fmla="*/ 533374 w 9854218"/>
              <a:gd name="connsiteY843" fmla="*/ 2578352 h 10287000"/>
              <a:gd name="connsiteX844" fmla="*/ 580660 w 9854218"/>
              <a:gd name="connsiteY844" fmla="*/ 2562593 h 10287000"/>
              <a:gd name="connsiteX845" fmla="*/ 675232 w 9854218"/>
              <a:gd name="connsiteY845" fmla="*/ 2205345 h 10287000"/>
              <a:gd name="connsiteX846" fmla="*/ 523040 w 9854218"/>
              <a:gd name="connsiteY846" fmla="*/ 2200926 h 10287000"/>
              <a:gd name="connsiteX847" fmla="*/ 513322 w 9854218"/>
              <a:gd name="connsiteY847" fmla="*/ 2228223 h 10287000"/>
              <a:gd name="connsiteX848" fmla="*/ 461300 w 9854218"/>
              <a:gd name="connsiteY848" fmla="*/ 2354711 h 10287000"/>
              <a:gd name="connsiteX849" fmla="*/ 442297 w 9854218"/>
              <a:gd name="connsiteY849" fmla="*/ 2363097 h 10287000"/>
              <a:gd name="connsiteX850" fmla="*/ 412385 w 9854218"/>
              <a:gd name="connsiteY850" fmla="*/ 2501100 h 10287000"/>
              <a:gd name="connsiteX851" fmla="*/ 375211 w 9854218"/>
              <a:gd name="connsiteY851" fmla="*/ 2596926 h 10287000"/>
              <a:gd name="connsiteX852" fmla="*/ 251371 w 9854218"/>
              <a:gd name="connsiteY852" fmla="*/ 3139446 h 10287000"/>
              <a:gd name="connsiteX853" fmla="*/ 224819 w 9854218"/>
              <a:gd name="connsiteY853" fmla="*/ 3207893 h 10287000"/>
              <a:gd name="connsiteX854" fmla="*/ 226771 w 9854218"/>
              <a:gd name="connsiteY854" fmla="*/ 3263763 h 10287000"/>
              <a:gd name="connsiteX855" fmla="*/ 264502 w 9854218"/>
              <a:gd name="connsiteY855" fmla="*/ 3186482 h 10287000"/>
              <a:gd name="connsiteX856" fmla="*/ 277628 w 9854218"/>
              <a:gd name="connsiteY856" fmla="*/ 3183644 h 10287000"/>
              <a:gd name="connsiteX857" fmla="*/ 294317 w 9854218"/>
              <a:gd name="connsiteY857" fmla="*/ 3104372 h 10287000"/>
              <a:gd name="connsiteX858" fmla="*/ 407276 w 9854218"/>
              <a:gd name="connsiteY858" fmla="*/ 2646653 h 10287000"/>
              <a:gd name="connsiteX859" fmla="*/ 478208 w 9854218"/>
              <a:gd name="connsiteY859" fmla="*/ 2553563 h 10287000"/>
              <a:gd name="connsiteX860" fmla="*/ 495008 w 9854218"/>
              <a:gd name="connsiteY860" fmla="*/ 2558340 h 10287000"/>
              <a:gd name="connsiteX861" fmla="*/ 519655 w 9854218"/>
              <a:gd name="connsiteY861" fmla="*/ 2451215 h 10287000"/>
              <a:gd name="connsiteX862" fmla="*/ 490688 w 9854218"/>
              <a:gd name="connsiteY862" fmla="*/ 2414930 h 10287000"/>
              <a:gd name="connsiteX863" fmla="*/ 521407 w 9854218"/>
              <a:gd name="connsiteY863" fmla="*/ 2296610 h 10287000"/>
              <a:gd name="connsiteX864" fmla="*/ 522992 w 9854218"/>
              <a:gd name="connsiteY864" fmla="*/ 2284277 h 10287000"/>
              <a:gd name="connsiteX865" fmla="*/ 518692 w 9854218"/>
              <a:gd name="connsiteY865" fmla="*/ 2290899 h 10287000"/>
              <a:gd name="connsiteX866" fmla="*/ 517693 w 9854218"/>
              <a:gd name="connsiteY866" fmla="*/ 2292438 h 10287000"/>
              <a:gd name="connsiteX867" fmla="*/ 509698 w 9854218"/>
              <a:gd name="connsiteY867" fmla="*/ 2304755 h 10287000"/>
              <a:gd name="connsiteX868" fmla="*/ 503212 w 9854218"/>
              <a:gd name="connsiteY868" fmla="*/ 2274299 h 10287000"/>
              <a:gd name="connsiteX869" fmla="*/ 511207 w 9854218"/>
              <a:gd name="connsiteY869" fmla="*/ 2261982 h 10287000"/>
              <a:gd name="connsiteX870" fmla="*/ 521365 w 9854218"/>
              <a:gd name="connsiteY870" fmla="*/ 2259818 h 10287000"/>
              <a:gd name="connsiteX871" fmla="*/ 517589 w 9854218"/>
              <a:gd name="connsiteY871" fmla="*/ 2227290 h 10287000"/>
              <a:gd name="connsiteX872" fmla="*/ 609370 w 9854218"/>
              <a:gd name="connsiteY872" fmla="*/ 1937486 h 10287000"/>
              <a:gd name="connsiteX873" fmla="*/ 606925 w 9854218"/>
              <a:gd name="connsiteY873" fmla="*/ 1938728 h 10287000"/>
              <a:gd name="connsiteX874" fmla="*/ 600083 w 9854218"/>
              <a:gd name="connsiteY874" fmla="*/ 1963008 h 10287000"/>
              <a:gd name="connsiteX875" fmla="*/ 2354597 w 9854218"/>
              <a:gd name="connsiteY875" fmla="*/ 1627446 h 10287000"/>
              <a:gd name="connsiteX876" fmla="*/ 2353016 w 9854218"/>
              <a:gd name="connsiteY876" fmla="*/ 1638516 h 10287000"/>
              <a:gd name="connsiteX877" fmla="*/ 2347962 w 9854218"/>
              <a:gd name="connsiteY877" fmla="*/ 1639239 h 10287000"/>
              <a:gd name="connsiteX878" fmla="*/ 2453333 w 9854218"/>
              <a:gd name="connsiteY878" fmla="*/ 1504730 h 10287000"/>
              <a:gd name="connsiteX879" fmla="*/ 2443172 w 9854218"/>
              <a:gd name="connsiteY879" fmla="*/ 1513565 h 10287000"/>
              <a:gd name="connsiteX880" fmla="*/ 2433042 w 9854218"/>
              <a:gd name="connsiteY880" fmla="*/ 1543170 h 10287000"/>
              <a:gd name="connsiteX881" fmla="*/ 2455824 w 9854218"/>
              <a:gd name="connsiteY881" fmla="*/ 966746 h 10287000"/>
              <a:gd name="connsiteX882" fmla="*/ 2455824 w 9854218"/>
              <a:gd name="connsiteY882" fmla="*/ 969464 h 10287000"/>
              <a:gd name="connsiteX883" fmla="*/ 2443172 w 9854218"/>
              <a:gd name="connsiteY883" fmla="*/ 982118 h 10287000"/>
              <a:gd name="connsiteX884" fmla="*/ 1481994 w 9854218"/>
              <a:gd name="connsiteY884" fmla="*/ 366944 h 10287000"/>
              <a:gd name="connsiteX885" fmla="*/ 1467562 w 9854218"/>
              <a:gd name="connsiteY885" fmla="*/ 370847 h 10287000"/>
              <a:gd name="connsiteX886" fmla="*/ 1367948 w 9854218"/>
              <a:gd name="connsiteY886" fmla="*/ 551256 h 10287000"/>
              <a:gd name="connsiteX887" fmla="*/ 1240025 w 9854218"/>
              <a:gd name="connsiteY887" fmla="*/ 748308 h 10287000"/>
              <a:gd name="connsiteX888" fmla="*/ 1219709 w 9854218"/>
              <a:gd name="connsiteY888" fmla="*/ 752634 h 10287000"/>
              <a:gd name="connsiteX889" fmla="*/ 1162235 w 9854218"/>
              <a:gd name="connsiteY889" fmla="*/ 881616 h 10287000"/>
              <a:gd name="connsiteX890" fmla="*/ 1106269 w 9854218"/>
              <a:gd name="connsiteY890" fmla="*/ 967827 h 10287000"/>
              <a:gd name="connsiteX891" fmla="*/ 1000045 w 9854218"/>
              <a:gd name="connsiteY891" fmla="*/ 1210668 h 10287000"/>
              <a:gd name="connsiteX892" fmla="*/ 959045 w 9854218"/>
              <a:gd name="connsiteY892" fmla="*/ 1289678 h 10287000"/>
              <a:gd name="connsiteX893" fmla="*/ 939901 w 9854218"/>
              <a:gd name="connsiteY893" fmla="*/ 1370676 h 10287000"/>
              <a:gd name="connsiteX894" fmla="*/ 927422 w 9854218"/>
              <a:gd name="connsiteY894" fmla="*/ 1538138 h 10287000"/>
              <a:gd name="connsiteX895" fmla="*/ 1289950 w 9854218"/>
              <a:gd name="connsiteY895" fmla="*/ 765854 h 10287000"/>
              <a:gd name="connsiteX896" fmla="*/ 1382551 w 9854218"/>
              <a:gd name="connsiteY896" fmla="*/ 560306 h 10287000"/>
              <a:gd name="connsiteX897" fmla="*/ 1487975 w 9854218"/>
              <a:gd name="connsiteY897" fmla="*/ 378446 h 10287000"/>
              <a:gd name="connsiteX898" fmla="*/ 1487231 w 9854218"/>
              <a:gd name="connsiteY898" fmla="*/ 375944 h 10287000"/>
              <a:gd name="connsiteX899" fmla="*/ 1481994 w 9854218"/>
              <a:gd name="connsiteY899" fmla="*/ 366944 h 10287000"/>
              <a:gd name="connsiteX900" fmla="*/ 2896330 w 9854218"/>
              <a:gd name="connsiteY900" fmla="*/ 0 h 10287000"/>
              <a:gd name="connsiteX901" fmla="*/ 3314054 w 9854218"/>
              <a:gd name="connsiteY901" fmla="*/ 0 h 10287000"/>
              <a:gd name="connsiteX902" fmla="*/ 3271984 w 9854218"/>
              <a:gd name="connsiteY902" fmla="*/ 44175 h 10287000"/>
              <a:gd name="connsiteX903" fmla="*/ 3215042 w 9854218"/>
              <a:gd name="connsiteY903" fmla="*/ 134331 h 10287000"/>
              <a:gd name="connsiteX904" fmla="*/ 3164426 w 9854218"/>
              <a:gd name="connsiteY904" fmla="*/ 159642 h 10287000"/>
              <a:gd name="connsiteX905" fmla="*/ 3164426 w 9854218"/>
              <a:gd name="connsiteY905" fmla="*/ 146985 h 10287000"/>
              <a:gd name="connsiteX906" fmla="*/ 3151772 w 9854218"/>
              <a:gd name="connsiteY906" fmla="*/ 146985 h 10287000"/>
              <a:gd name="connsiteX907" fmla="*/ 3139120 w 9854218"/>
              <a:gd name="connsiteY907" fmla="*/ 159641 h 10287000"/>
              <a:gd name="connsiteX908" fmla="*/ 3088506 w 9854218"/>
              <a:gd name="connsiteY908" fmla="*/ 222906 h 10287000"/>
              <a:gd name="connsiteX909" fmla="*/ 3088506 w 9854218"/>
              <a:gd name="connsiteY909" fmla="*/ 210252 h 10287000"/>
              <a:gd name="connsiteX910" fmla="*/ 3075852 w 9854218"/>
              <a:gd name="connsiteY910" fmla="*/ 210252 h 10287000"/>
              <a:gd name="connsiteX911" fmla="*/ 3063198 w 9854218"/>
              <a:gd name="connsiteY911" fmla="*/ 222906 h 10287000"/>
              <a:gd name="connsiteX912" fmla="*/ 3063197 w 9854218"/>
              <a:gd name="connsiteY912" fmla="*/ 235560 h 10287000"/>
              <a:gd name="connsiteX913" fmla="*/ 3037892 w 9854218"/>
              <a:gd name="connsiteY913" fmla="*/ 286175 h 10287000"/>
              <a:gd name="connsiteX914" fmla="*/ 3025236 w 9854218"/>
              <a:gd name="connsiteY914" fmla="*/ 298829 h 10287000"/>
              <a:gd name="connsiteX915" fmla="*/ 3012582 w 9854218"/>
              <a:gd name="connsiteY915" fmla="*/ 298827 h 10287000"/>
              <a:gd name="connsiteX916" fmla="*/ 2999930 w 9854218"/>
              <a:gd name="connsiteY916" fmla="*/ 311481 h 10287000"/>
              <a:gd name="connsiteX917" fmla="*/ 3012582 w 9854218"/>
              <a:gd name="connsiteY917" fmla="*/ 311481 h 10287000"/>
              <a:gd name="connsiteX918" fmla="*/ 3025236 w 9854218"/>
              <a:gd name="connsiteY918" fmla="*/ 311481 h 10287000"/>
              <a:gd name="connsiteX919" fmla="*/ 2936663 w 9854218"/>
              <a:gd name="connsiteY919" fmla="*/ 400056 h 10287000"/>
              <a:gd name="connsiteX920" fmla="*/ 2936662 w 9854218"/>
              <a:gd name="connsiteY920" fmla="*/ 387402 h 10287000"/>
              <a:gd name="connsiteX921" fmla="*/ 2949317 w 9854218"/>
              <a:gd name="connsiteY921" fmla="*/ 374747 h 10287000"/>
              <a:gd name="connsiteX922" fmla="*/ 2936662 w 9854218"/>
              <a:gd name="connsiteY922" fmla="*/ 374750 h 10287000"/>
              <a:gd name="connsiteX923" fmla="*/ 2949318 w 9854218"/>
              <a:gd name="connsiteY923" fmla="*/ 362094 h 10287000"/>
              <a:gd name="connsiteX924" fmla="*/ 2961968 w 9854218"/>
              <a:gd name="connsiteY924" fmla="*/ 362093 h 10287000"/>
              <a:gd name="connsiteX925" fmla="*/ 2961965 w 9854218"/>
              <a:gd name="connsiteY925" fmla="*/ 349442 h 10287000"/>
              <a:gd name="connsiteX926" fmla="*/ 2961968 w 9854218"/>
              <a:gd name="connsiteY926" fmla="*/ 336788 h 10287000"/>
              <a:gd name="connsiteX927" fmla="*/ 2949317 w 9854218"/>
              <a:gd name="connsiteY927" fmla="*/ 349442 h 10287000"/>
              <a:gd name="connsiteX928" fmla="*/ 2961965 w 9854218"/>
              <a:gd name="connsiteY928" fmla="*/ 298827 h 10287000"/>
              <a:gd name="connsiteX929" fmla="*/ 2974624 w 9854218"/>
              <a:gd name="connsiteY929" fmla="*/ 286175 h 10287000"/>
              <a:gd name="connsiteX930" fmla="*/ 2987278 w 9854218"/>
              <a:gd name="connsiteY930" fmla="*/ 286176 h 10287000"/>
              <a:gd name="connsiteX931" fmla="*/ 2999928 w 9854218"/>
              <a:gd name="connsiteY931" fmla="*/ 260870 h 10287000"/>
              <a:gd name="connsiteX932" fmla="*/ 2974622 w 9854218"/>
              <a:gd name="connsiteY932" fmla="*/ 260867 h 10287000"/>
              <a:gd name="connsiteX933" fmla="*/ 2961970 w 9854218"/>
              <a:gd name="connsiteY933" fmla="*/ 273521 h 10287000"/>
              <a:gd name="connsiteX934" fmla="*/ 2949317 w 9854218"/>
              <a:gd name="connsiteY934" fmla="*/ 286175 h 10287000"/>
              <a:gd name="connsiteX935" fmla="*/ 2924008 w 9854218"/>
              <a:gd name="connsiteY935" fmla="*/ 324135 h 10287000"/>
              <a:gd name="connsiteX936" fmla="*/ 2949317 w 9854218"/>
              <a:gd name="connsiteY936" fmla="*/ 311481 h 10287000"/>
              <a:gd name="connsiteX937" fmla="*/ 2961965 w 9854218"/>
              <a:gd name="connsiteY937" fmla="*/ 298827 h 10287000"/>
              <a:gd name="connsiteX938" fmla="*/ 2936662 w 9854218"/>
              <a:gd name="connsiteY938" fmla="*/ 349442 h 10287000"/>
              <a:gd name="connsiteX939" fmla="*/ 2924008 w 9854218"/>
              <a:gd name="connsiteY939" fmla="*/ 362096 h 10287000"/>
              <a:gd name="connsiteX940" fmla="*/ 2898702 w 9854218"/>
              <a:gd name="connsiteY940" fmla="*/ 374747 h 10287000"/>
              <a:gd name="connsiteX941" fmla="*/ 2911350 w 9854218"/>
              <a:gd name="connsiteY941" fmla="*/ 374747 h 10287000"/>
              <a:gd name="connsiteX942" fmla="*/ 2911354 w 9854218"/>
              <a:gd name="connsiteY942" fmla="*/ 387402 h 10287000"/>
              <a:gd name="connsiteX943" fmla="*/ 2911354 w 9854218"/>
              <a:gd name="connsiteY943" fmla="*/ 400059 h 10287000"/>
              <a:gd name="connsiteX944" fmla="*/ 2886048 w 9854218"/>
              <a:gd name="connsiteY944" fmla="*/ 425363 h 10287000"/>
              <a:gd name="connsiteX945" fmla="*/ 2911350 w 9854218"/>
              <a:gd name="connsiteY945" fmla="*/ 425363 h 10287000"/>
              <a:gd name="connsiteX946" fmla="*/ 2924008 w 9854218"/>
              <a:gd name="connsiteY946" fmla="*/ 412712 h 10287000"/>
              <a:gd name="connsiteX947" fmla="*/ 2873394 w 9854218"/>
              <a:gd name="connsiteY947" fmla="*/ 501282 h 10287000"/>
              <a:gd name="connsiteX948" fmla="*/ 2886047 w 9854218"/>
              <a:gd name="connsiteY948" fmla="*/ 450672 h 10287000"/>
              <a:gd name="connsiteX949" fmla="*/ 2848088 w 9854218"/>
              <a:gd name="connsiteY949" fmla="*/ 488633 h 10287000"/>
              <a:gd name="connsiteX950" fmla="*/ 2848086 w 9854218"/>
              <a:gd name="connsiteY950" fmla="*/ 475980 h 10287000"/>
              <a:gd name="connsiteX951" fmla="*/ 2860742 w 9854218"/>
              <a:gd name="connsiteY951" fmla="*/ 450671 h 10287000"/>
              <a:gd name="connsiteX952" fmla="*/ 2822778 w 9854218"/>
              <a:gd name="connsiteY952" fmla="*/ 475977 h 10287000"/>
              <a:gd name="connsiteX953" fmla="*/ 2810128 w 9854218"/>
              <a:gd name="connsiteY953" fmla="*/ 488631 h 10287000"/>
              <a:gd name="connsiteX954" fmla="*/ 2759512 w 9854218"/>
              <a:gd name="connsiteY954" fmla="*/ 539243 h 10287000"/>
              <a:gd name="connsiteX955" fmla="*/ 2797472 w 9854218"/>
              <a:gd name="connsiteY955" fmla="*/ 513938 h 10287000"/>
              <a:gd name="connsiteX956" fmla="*/ 2784818 w 9854218"/>
              <a:gd name="connsiteY956" fmla="*/ 526592 h 10287000"/>
              <a:gd name="connsiteX957" fmla="*/ 2772164 w 9854218"/>
              <a:gd name="connsiteY957" fmla="*/ 551898 h 10287000"/>
              <a:gd name="connsiteX958" fmla="*/ 2797474 w 9854218"/>
              <a:gd name="connsiteY958" fmla="*/ 539243 h 10287000"/>
              <a:gd name="connsiteX959" fmla="*/ 2810128 w 9854218"/>
              <a:gd name="connsiteY959" fmla="*/ 539243 h 10287000"/>
              <a:gd name="connsiteX960" fmla="*/ 2772166 w 9854218"/>
              <a:gd name="connsiteY960" fmla="*/ 602513 h 10287000"/>
              <a:gd name="connsiteX961" fmla="*/ 2721554 w 9854218"/>
              <a:gd name="connsiteY961" fmla="*/ 627818 h 10287000"/>
              <a:gd name="connsiteX962" fmla="*/ 2658284 w 9854218"/>
              <a:gd name="connsiteY962" fmla="*/ 703743 h 10287000"/>
              <a:gd name="connsiteX963" fmla="*/ 2658284 w 9854218"/>
              <a:gd name="connsiteY963" fmla="*/ 741699 h 10287000"/>
              <a:gd name="connsiteX964" fmla="*/ 2595016 w 9854218"/>
              <a:gd name="connsiteY964" fmla="*/ 779661 h 10287000"/>
              <a:gd name="connsiteX965" fmla="*/ 2488250 w 9854218"/>
              <a:gd name="connsiteY965" fmla="*/ 927351 h 10287000"/>
              <a:gd name="connsiteX966" fmla="*/ 2455824 w 9854218"/>
              <a:gd name="connsiteY966" fmla="*/ 966746 h 10287000"/>
              <a:gd name="connsiteX967" fmla="*/ 2455822 w 9854218"/>
              <a:gd name="connsiteY967" fmla="*/ 956810 h 10287000"/>
              <a:gd name="connsiteX968" fmla="*/ 2430518 w 9854218"/>
              <a:gd name="connsiteY968" fmla="*/ 969464 h 10287000"/>
              <a:gd name="connsiteX969" fmla="*/ 2417862 w 9854218"/>
              <a:gd name="connsiteY969" fmla="*/ 994773 h 10287000"/>
              <a:gd name="connsiteX970" fmla="*/ 2316635 w 9854218"/>
              <a:gd name="connsiteY970" fmla="*/ 1133960 h 10287000"/>
              <a:gd name="connsiteX971" fmla="*/ 2316635 w 9854218"/>
              <a:gd name="connsiteY971" fmla="*/ 1121304 h 10287000"/>
              <a:gd name="connsiteX972" fmla="*/ 2303984 w 9854218"/>
              <a:gd name="connsiteY972" fmla="*/ 1121304 h 10287000"/>
              <a:gd name="connsiteX973" fmla="*/ 2303984 w 9854218"/>
              <a:gd name="connsiteY973" fmla="*/ 1133960 h 10287000"/>
              <a:gd name="connsiteX974" fmla="*/ 2291328 w 9854218"/>
              <a:gd name="connsiteY974" fmla="*/ 1146614 h 10287000"/>
              <a:gd name="connsiteX975" fmla="*/ 2291330 w 9854218"/>
              <a:gd name="connsiteY975" fmla="*/ 1171919 h 10287000"/>
              <a:gd name="connsiteX976" fmla="*/ 2266020 w 9854218"/>
              <a:gd name="connsiteY976" fmla="*/ 1171919 h 10287000"/>
              <a:gd name="connsiteX977" fmla="*/ 2253370 w 9854218"/>
              <a:gd name="connsiteY977" fmla="*/ 1209881 h 10287000"/>
              <a:gd name="connsiteX978" fmla="*/ 2253368 w 9854218"/>
              <a:gd name="connsiteY978" fmla="*/ 1197225 h 10287000"/>
              <a:gd name="connsiteX979" fmla="*/ 2240712 w 9854218"/>
              <a:gd name="connsiteY979" fmla="*/ 1197225 h 10287000"/>
              <a:gd name="connsiteX980" fmla="*/ 2228060 w 9854218"/>
              <a:gd name="connsiteY980" fmla="*/ 1222535 h 10287000"/>
              <a:gd name="connsiteX981" fmla="*/ 2228062 w 9854218"/>
              <a:gd name="connsiteY981" fmla="*/ 1235190 h 10287000"/>
              <a:gd name="connsiteX982" fmla="*/ 2190100 w 9854218"/>
              <a:gd name="connsiteY982" fmla="*/ 1285800 h 10287000"/>
              <a:gd name="connsiteX983" fmla="*/ 2177446 w 9854218"/>
              <a:gd name="connsiteY983" fmla="*/ 1298454 h 10287000"/>
              <a:gd name="connsiteX984" fmla="*/ 2164790 w 9854218"/>
              <a:gd name="connsiteY984" fmla="*/ 1323761 h 10287000"/>
              <a:gd name="connsiteX985" fmla="*/ 2177447 w 9854218"/>
              <a:gd name="connsiteY985" fmla="*/ 1311110 h 10287000"/>
              <a:gd name="connsiteX986" fmla="*/ 2190096 w 9854218"/>
              <a:gd name="connsiteY986" fmla="*/ 1311111 h 10287000"/>
              <a:gd name="connsiteX987" fmla="*/ 2164793 w 9854218"/>
              <a:gd name="connsiteY987" fmla="*/ 1374375 h 10287000"/>
              <a:gd name="connsiteX988" fmla="*/ 2152140 w 9854218"/>
              <a:gd name="connsiteY988" fmla="*/ 1399685 h 10287000"/>
              <a:gd name="connsiteX989" fmla="*/ 2139485 w 9854218"/>
              <a:gd name="connsiteY989" fmla="*/ 1399683 h 10287000"/>
              <a:gd name="connsiteX990" fmla="*/ 2139485 w 9854218"/>
              <a:gd name="connsiteY990" fmla="*/ 1412336 h 10287000"/>
              <a:gd name="connsiteX991" fmla="*/ 2126834 w 9854218"/>
              <a:gd name="connsiteY991" fmla="*/ 1424993 h 10287000"/>
              <a:gd name="connsiteX992" fmla="*/ 2126832 w 9854218"/>
              <a:gd name="connsiteY992" fmla="*/ 1437641 h 10287000"/>
              <a:gd name="connsiteX993" fmla="*/ 2076220 w 9854218"/>
              <a:gd name="connsiteY993" fmla="*/ 1475606 h 10287000"/>
              <a:gd name="connsiteX994" fmla="*/ 2076220 w 9854218"/>
              <a:gd name="connsiteY994" fmla="*/ 1513566 h 10287000"/>
              <a:gd name="connsiteX995" fmla="*/ 2063564 w 9854218"/>
              <a:gd name="connsiteY995" fmla="*/ 1538871 h 10287000"/>
              <a:gd name="connsiteX996" fmla="*/ 2076215 w 9854218"/>
              <a:gd name="connsiteY996" fmla="*/ 1538868 h 10287000"/>
              <a:gd name="connsiteX997" fmla="*/ 2076218 w 9854218"/>
              <a:gd name="connsiteY997" fmla="*/ 1526216 h 10287000"/>
              <a:gd name="connsiteX998" fmla="*/ 2088868 w 9854218"/>
              <a:gd name="connsiteY998" fmla="*/ 1551525 h 10287000"/>
              <a:gd name="connsiteX999" fmla="*/ 1734570 w 9854218"/>
              <a:gd name="connsiteY999" fmla="*/ 2285429 h 10287000"/>
              <a:gd name="connsiteX1000" fmla="*/ 1683956 w 9854218"/>
              <a:gd name="connsiteY1000" fmla="*/ 2386655 h 10287000"/>
              <a:gd name="connsiteX1001" fmla="*/ 1645996 w 9854218"/>
              <a:gd name="connsiteY1001" fmla="*/ 2449923 h 10287000"/>
              <a:gd name="connsiteX1002" fmla="*/ 1620689 w 9854218"/>
              <a:gd name="connsiteY1002" fmla="*/ 2551154 h 10287000"/>
              <a:gd name="connsiteX1003" fmla="*/ 1506806 w 9854218"/>
              <a:gd name="connsiteY1003" fmla="*/ 2905451 h 10287000"/>
              <a:gd name="connsiteX1004" fmla="*/ 1494152 w 9854218"/>
              <a:gd name="connsiteY1004" fmla="*/ 2918102 h 10287000"/>
              <a:gd name="connsiteX1005" fmla="*/ 1494154 w 9854218"/>
              <a:gd name="connsiteY1005" fmla="*/ 2930757 h 10287000"/>
              <a:gd name="connsiteX1006" fmla="*/ 1506806 w 9854218"/>
              <a:gd name="connsiteY1006" fmla="*/ 2930756 h 10287000"/>
              <a:gd name="connsiteX1007" fmla="*/ 1506806 w 9854218"/>
              <a:gd name="connsiteY1007" fmla="*/ 2943410 h 10287000"/>
              <a:gd name="connsiteX1008" fmla="*/ 1494152 w 9854218"/>
              <a:gd name="connsiteY1008" fmla="*/ 2943410 h 10287000"/>
              <a:gd name="connsiteX1009" fmla="*/ 1456192 w 9854218"/>
              <a:gd name="connsiteY1009" fmla="*/ 3057288 h 10287000"/>
              <a:gd name="connsiteX1010" fmla="*/ 1443541 w 9854218"/>
              <a:gd name="connsiteY1010" fmla="*/ 3057291 h 10287000"/>
              <a:gd name="connsiteX1011" fmla="*/ 1443536 w 9854218"/>
              <a:gd name="connsiteY1011" fmla="*/ 3082601 h 10287000"/>
              <a:gd name="connsiteX1012" fmla="*/ 1405579 w 9854218"/>
              <a:gd name="connsiteY1012" fmla="*/ 3209135 h 10287000"/>
              <a:gd name="connsiteX1013" fmla="*/ 1392929 w 9854218"/>
              <a:gd name="connsiteY1013" fmla="*/ 3221789 h 10287000"/>
              <a:gd name="connsiteX1014" fmla="*/ 1380271 w 9854218"/>
              <a:gd name="connsiteY1014" fmla="*/ 3272402 h 10287000"/>
              <a:gd name="connsiteX1015" fmla="*/ 1380272 w 9854218"/>
              <a:gd name="connsiteY1015" fmla="*/ 3285053 h 10287000"/>
              <a:gd name="connsiteX1016" fmla="*/ 1380271 w 9854218"/>
              <a:gd name="connsiteY1016" fmla="*/ 3297705 h 10287000"/>
              <a:gd name="connsiteX1017" fmla="*/ 1380271 w 9854218"/>
              <a:gd name="connsiteY1017" fmla="*/ 3310362 h 10287000"/>
              <a:gd name="connsiteX1018" fmla="*/ 1367617 w 9854218"/>
              <a:gd name="connsiteY1018" fmla="*/ 3348326 h 10287000"/>
              <a:gd name="connsiteX1019" fmla="*/ 1392925 w 9854218"/>
              <a:gd name="connsiteY1019" fmla="*/ 3335669 h 10287000"/>
              <a:gd name="connsiteX1020" fmla="*/ 1392928 w 9854218"/>
              <a:gd name="connsiteY1020" fmla="*/ 3360977 h 10287000"/>
              <a:gd name="connsiteX1021" fmla="*/ 1380272 w 9854218"/>
              <a:gd name="connsiteY1021" fmla="*/ 3360974 h 10287000"/>
              <a:gd name="connsiteX1022" fmla="*/ 1380271 w 9854218"/>
              <a:gd name="connsiteY1022" fmla="*/ 3373631 h 10287000"/>
              <a:gd name="connsiteX1023" fmla="*/ 1380271 w 9854218"/>
              <a:gd name="connsiteY1023" fmla="*/ 3386286 h 10287000"/>
              <a:gd name="connsiteX1024" fmla="*/ 1380271 w 9854218"/>
              <a:gd name="connsiteY1024" fmla="*/ 3411591 h 10287000"/>
              <a:gd name="connsiteX1025" fmla="*/ 1329658 w 9854218"/>
              <a:gd name="connsiteY1025" fmla="*/ 3512819 h 10287000"/>
              <a:gd name="connsiteX1026" fmla="*/ 1342310 w 9854218"/>
              <a:gd name="connsiteY1026" fmla="*/ 3512817 h 10287000"/>
              <a:gd name="connsiteX1027" fmla="*/ 1329658 w 9854218"/>
              <a:gd name="connsiteY1027" fmla="*/ 3550775 h 10287000"/>
              <a:gd name="connsiteX1028" fmla="*/ 1354964 w 9854218"/>
              <a:gd name="connsiteY1028" fmla="*/ 3550778 h 10287000"/>
              <a:gd name="connsiteX1029" fmla="*/ 1367618 w 9854218"/>
              <a:gd name="connsiteY1029" fmla="*/ 3500165 h 10287000"/>
              <a:gd name="connsiteX1030" fmla="*/ 1367618 w 9854218"/>
              <a:gd name="connsiteY1030" fmla="*/ 3512819 h 10287000"/>
              <a:gd name="connsiteX1031" fmla="*/ 1380271 w 9854218"/>
              <a:gd name="connsiteY1031" fmla="*/ 3512817 h 10287000"/>
              <a:gd name="connsiteX1032" fmla="*/ 1380271 w 9854218"/>
              <a:gd name="connsiteY1032" fmla="*/ 3500166 h 10287000"/>
              <a:gd name="connsiteX1033" fmla="*/ 1380271 w 9854218"/>
              <a:gd name="connsiteY1033" fmla="*/ 3487512 h 10287000"/>
              <a:gd name="connsiteX1034" fmla="*/ 1418236 w 9854218"/>
              <a:gd name="connsiteY1034" fmla="*/ 3348324 h 10287000"/>
              <a:gd name="connsiteX1035" fmla="*/ 1430885 w 9854218"/>
              <a:gd name="connsiteY1035" fmla="*/ 3335669 h 10287000"/>
              <a:gd name="connsiteX1036" fmla="*/ 1430887 w 9854218"/>
              <a:gd name="connsiteY1036" fmla="*/ 3323013 h 10287000"/>
              <a:gd name="connsiteX1037" fmla="*/ 1418234 w 9854218"/>
              <a:gd name="connsiteY1037" fmla="*/ 3323015 h 10287000"/>
              <a:gd name="connsiteX1038" fmla="*/ 1544766 w 9854218"/>
              <a:gd name="connsiteY1038" fmla="*/ 2918102 h 10287000"/>
              <a:gd name="connsiteX1039" fmla="*/ 1544766 w 9854218"/>
              <a:gd name="connsiteY1039" fmla="*/ 2880141 h 10287000"/>
              <a:gd name="connsiteX1040" fmla="*/ 1595382 w 9854218"/>
              <a:gd name="connsiteY1040" fmla="*/ 2740952 h 10287000"/>
              <a:gd name="connsiteX1041" fmla="*/ 1582726 w 9854218"/>
              <a:gd name="connsiteY1041" fmla="*/ 2753607 h 10287000"/>
              <a:gd name="connsiteX1042" fmla="*/ 1633342 w 9854218"/>
              <a:gd name="connsiteY1042" fmla="*/ 2652380 h 10287000"/>
              <a:gd name="connsiteX1043" fmla="*/ 1785186 w 9854218"/>
              <a:gd name="connsiteY1043" fmla="*/ 2285430 h 10287000"/>
              <a:gd name="connsiteX1044" fmla="*/ 1886414 w 9854218"/>
              <a:gd name="connsiteY1044" fmla="*/ 2007050 h 10287000"/>
              <a:gd name="connsiteX1045" fmla="*/ 1937028 w 9854218"/>
              <a:gd name="connsiteY1045" fmla="*/ 1943783 h 10287000"/>
              <a:gd name="connsiteX1046" fmla="*/ 1987643 w 9854218"/>
              <a:gd name="connsiteY1046" fmla="*/ 1829903 h 10287000"/>
              <a:gd name="connsiteX1047" fmla="*/ 2012950 w 9854218"/>
              <a:gd name="connsiteY1047" fmla="*/ 1804596 h 10287000"/>
              <a:gd name="connsiteX1048" fmla="*/ 2139486 w 9854218"/>
              <a:gd name="connsiteY1048" fmla="*/ 1576833 h 10287000"/>
              <a:gd name="connsiteX1049" fmla="*/ 2139485 w 9854218"/>
              <a:gd name="connsiteY1049" fmla="*/ 1551525 h 10287000"/>
              <a:gd name="connsiteX1050" fmla="*/ 2266022 w 9854218"/>
              <a:gd name="connsiteY1050" fmla="*/ 1349070 h 10287000"/>
              <a:gd name="connsiteX1051" fmla="*/ 2367250 w 9854218"/>
              <a:gd name="connsiteY1051" fmla="*/ 1197225 h 10287000"/>
              <a:gd name="connsiteX1052" fmla="*/ 2430518 w 9854218"/>
              <a:gd name="connsiteY1052" fmla="*/ 1108653 h 10287000"/>
              <a:gd name="connsiteX1053" fmla="*/ 2519094 w 9854218"/>
              <a:gd name="connsiteY1053" fmla="*/ 969464 h 10287000"/>
              <a:gd name="connsiteX1054" fmla="*/ 2531748 w 9854218"/>
              <a:gd name="connsiteY1054" fmla="*/ 982118 h 10287000"/>
              <a:gd name="connsiteX1055" fmla="*/ 2544401 w 9854218"/>
              <a:gd name="connsiteY1055" fmla="*/ 944157 h 10287000"/>
              <a:gd name="connsiteX1056" fmla="*/ 2721552 w 9854218"/>
              <a:gd name="connsiteY1056" fmla="*/ 716393 h 10287000"/>
              <a:gd name="connsiteX1057" fmla="*/ 2898701 w 9854218"/>
              <a:gd name="connsiteY1057" fmla="*/ 501282 h 10287000"/>
              <a:gd name="connsiteX1058" fmla="*/ 2924008 w 9854218"/>
              <a:gd name="connsiteY1058" fmla="*/ 488633 h 10287000"/>
              <a:gd name="connsiteX1059" fmla="*/ 2936662 w 9854218"/>
              <a:gd name="connsiteY1059" fmla="*/ 450671 h 10287000"/>
              <a:gd name="connsiteX1060" fmla="*/ 3177078 w 9854218"/>
              <a:gd name="connsiteY1060" fmla="*/ 210252 h 10287000"/>
              <a:gd name="connsiteX1061" fmla="*/ 3189732 w 9854218"/>
              <a:gd name="connsiteY1061" fmla="*/ 210252 h 10287000"/>
              <a:gd name="connsiteX1062" fmla="*/ 3202388 w 9854218"/>
              <a:gd name="connsiteY1062" fmla="*/ 197600 h 10287000"/>
              <a:gd name="connsiteX1063" fmla="*/ 3278308 w 9854218"/>
              <a:gd name="connsiteY1063" fmla="*/ 121680 h 10287000"/>
              <a:gd name="connsiteX1064" fmla="*/ 3290962 w 9854218"/>
              <a:gd name="connsiteY1064" fmla="*/ 134334 h 10287000"/>
              <a:gd name="connsiteX1065" fmla="*/ 3303617 w 9854218"/>
              <a:gd name="connsiteY1065" fmla="*/ 121682 h 10287000"/>
              <a:gd name="connsiteX1066" fmla="*/ 3316272 w 9854218"/>
              <a:gd name="connsiteY1066" fmla="*/ 96371 h 10287000"/>
              <a:gd name="connsiteX1067" fmla="*/ 3379536 w 9854218"/>
              <a:gd name="connsiteY1067" fmla="*/ 58410 h 10287000"/>
              <a:gd name="connsiteX1068" fmla="*/ 3341576 w 9854218"/>
              <a:gd name="connsiteY1068" fmla="*/ 71066 h 10287000"/>
              <a:gd name="connsiteX1069" fmla="*/ 3354233 w 9854218"/>
              <a:gd name="connsiteY1069" fmla="*/ 58410 h 10287000"/>
              <a:gd name="connsiteX1070" fmla="*/ 3341576 w 9854218"/>
              <a:gd name="connsiteY1070" fmla="*/ 58410 h 10287000"/>
              <a:gd name="connsiteX1071" fmla="*/ 3374990 w 9854218"/>
              <a:gd name="connsiteY1071" fmla="*/ 21242 h 10287000"/>
              <a:gd name="connsiteX1072" fmla="*/ 3398246 w 9854218"/>
              <a:gd name="connsiteY1072" fmla="*/ 0 h 10287000"/>
              <a:gd name="connsiteX1073" fmla="*/ 3467874 w 9854218"/>
              <a:gd name="connsiteY1073" fmla="*/ 0 h 10287000"/>
              <a:gd name="connsiteX1074" fmla="*/ 3444386 w 9854218"/>
              <a:gd name="connsiteY1074" fmla="*/ 25196 h 10287000"/>
              <a:gd name="connsiteX1075" fmla="*/ 3366882 w 9854218"/>
              <a:gd name="connsiteY1075" fmla="*/ 109025 h 10287000"/>
              <a:gd name="connsiteX1076" fmla="*/ 2987278 w 9854218"/>
              <a:gd name="connsiteY1076" fmla="*/ 513935 h 10287000"/>
              <a:gd name="connsiteX1077" fmla="*/ 2961968 w 9854218"/>
              <a:gd name="connsiteY1077" fmla="*/ 564552 h 10287000"/>
              <a:gd name="connsiteX1078" fmla="*/ 2911354 w 9854218"/>
              <a:gd name="connsiteY1078" fmla="*/ 589857 h 10287000"/>
              <a:gd name="connsiteX1079" fmla="*/ 2784818 w 9854218"/>
              <a:gd name="connsiteY1079" fmla="*/ 767007 h 10287000"/>
              <a:gd name="connsiteX1080" fmla="*/ 2759512 w 9854218"/>
              <a:gd name="connsiteY1080" fmla="*/ 779661 h 10287000"/>
              <a:gd name="connsiteX1081" fmla="*/ 2696243 w 9854218"/>
              <a:gd name="connsiteY1081" fmla="*/ 893543 h 10287000"/>
              <a:gd name="connsiteX1082" fmla="*/ 2632974 w 9854218"/>
              <a:gd name="connsiteY1082" fmla="*/ 956810 h 10287000"/>
              <a:gd name="connsiteX1083" fmla="*/ 2392558 w 9854218"/>
              <a:gd name="connsiteY1083" fmla="*/ 1323761 h 10287000"/>
              <a:gd name="connsiteX1084" fmla="*/ 2253366 w 9854218"/>
              <a:gd name="connsiteY1084" fmla="*/ 1538871 h 10287000"/>
              <a:gd name="connsiteX1085" fmla="*/ 2190100 w 9854218"/>
              <a:gd name="connsiteY1085" fmla="*/ 1640100 h 10287000"/>
              <a:gd name="connsiteX1086" fmla="*/ 2038253 w 9854218"/>
              <a:gd name="connsiteY1086" fmla="*/ 1956437 h 10287000"/>
              <a:gd name="connsiteX1087" fmla="*/ 2000296 w 9854218"/>
              <a:gd name="connsiteY1087" fmla="*/ 2019705 h 10287000"/>
              <a:gd name="connsiteX1088" fmla="*/ 1810492 w 9854218"/>
              <a:gd name="connsiteY1088" fmla="*/ 2462576 h 10287000"/>
              <a:gd name="connsiteX1089" fmla="*/ 1633343 w 9854218"/>
              <a:gd name="connsiteY1089" fmla="*/ 2930756 h 10287000"/>
              <a:gd name="connsiteX1090" fmla="*/ 1570074 w 9854218"/>
              <a:gd name="connsiteY1090" fmla="*/ 3133212 h 10287000"/>
              <a:gd name="connsiteX1091" fmla="*/ 1557420 w 9854218"/>
              <a:gd name="connsiteY1091" fmla="*/ 3145868 h 10287000"/>
              <a:gd name="connsiteX1092" fmla="*/ 1557422 w 9854218"/>
              <a:gd name="connsiteY1092" fmla="*/ 3171176 h 10287000"/>
              <a:gd name="connsiteX1093" fmla="*/ 1494154 w 9854218"/>
              <a:gd name="connsiteY1093" fmla="*/ 3323016 h 10287000"/>
              <a:gd name="connsiteX1094" fmla="*/ 1519463 w 9854218"/>
              <a:gd name="connsiteY1094" fmla="*/ 3297708 h 10287000"/>
              <a:gd name="connsiteX1095" fmla="*/ 1544768 w 9854218"/>
              <a:gd name="connsiteY1095" fmla="*/ 3209136 h 10287000"/>
              <a:gd name="connsiteX1096" fmla="*/ 1570074 w 9854218"/>
              <a:gd name="connsiteY1096" fmla="*/ 3196481 h 10287000"/>
              <a:gd name="connsiteX1097" fmla="*/ 1582726 w 9854218"/>
              <a:gd name="connsiteY1097" fmla="*/ 3196481 h 10287000"/>
              <a:gd name="connsiteX1098" fmla="*/ 1582727 w 9854218"/>
              <a:gd name="connsiteY1098" fmla="*/ 3183827 h 10287000"/>
              <a:gd name="connsiteX1099" fmla="*/ 1582726 w 9854218"/>
              <a:gd name="connsiteY1099" fmla="*/ 3171176 h 10287000"/>
              <a:gd name="connsiteX1100" fmla="*/ 1582726 w 9854218"/>
              <a:gd name="connsiteY1100" fmla="*/ 3158520 h 10287000"/>
              <a:gd name="connsiteX1101" fmla="*/ 1633342 w 9854218"/>
              <a:gd name="connsiteY1101" fmla="*/ 3019331 h 10287000"/>
              <a:gd name="connsiteX1102" fmla="*/ 1734570 w 9854218"/>
              <a:gd name="connsiteY1102" fmla="*/ 2766260 h 10287000"/>
              <a:gd name="connsiteX1103" fmla="*/ 1823146 w 9854218"/>
              <a:gd name="connsiteY1103" fmla="*/ 2576459 h 10287000"/>
              <a:gd name="connsiteX1104" fmla="*/ 1835800 w 9854218"/>
              <a:gd name="connsiteY1104" fmla="*/ 2576456 h 10287000"/>
              <a:gd name="connsiteX1105" fmla="*/ 1835800 w 9854218"/>
              <a:gd name="connsiteY1105" fmla="*/ 2551151 h 10287000"/>
              <a:gd name="connsiteX1106" fmla="*/ 1835796 w 9854218"/>
              <a:gd name="connsiteY1106" fmla="*/ 2538498 h 10287000"/>
              <a:gd name="connsiteX1107" fmla="*/ 1899068 w 9854218"/>
              <a:gd name="connsiteY1107" fmla="*/ 2361350 h 10287000"/>
              <a:gd name="connsiteX1108" fmla="*/ 1911720 w 9854218"/>
              <a:gd name="connsiteY1108" fmla="*/ 2336043 h 10287000"/>
              <a:gd name="connsiteX1109" fmla="*/ 1937026 w 9854218"/>
              <a:gd name="connsiteY1109" fmla="*/ 2336043 h 10287000"/>
              <a:gd name="connsiteX1110" fmla="*/ 1937028 w 9854218"/>
              <a:gd name="connsiteY1110" fmla="*/ 2298083 h 10287000"/>
              <a:gd name="connsiteX1111" fmla="*/ 1962336 w 9854218"/>
              <a:gd name="connsiteY1111" fmla="*/ 2260122 h 10287000"/>
              <a:gd name="connsiteX1112" fmla="*/ 2126832 w 9854218"/>
              <a:gd name="connsiteY1112" fmla="*/ 1905822 h 10287000"/>
              <a:gd name="connsiteX1113" fmla="*/ 2126832 w 9854218"/>
              <a:gd name="connsiteY1113" fmla="*/ 1893168 h 10287000"/>
              <a:gd name="connsiteX1114" fmla="*/ 2139485 w 9854218"/>
              <a:gd name="connsiteY1114" fmla="*/ 1880514 h 10287000"/>
              <a:gd name="connsiteX1115" fmla="*/ 2202754 w 9854218"/>
              <a:gd name="connsiteY1115" fmla="*/ 1791941 h 10287000"/>
              <a:gd name="connsiteX1116" fmla="*/ 2202755 w 9854218"/>
              <a:gd name="connsiteY1116" fmla="*/ 1753982 h 10287000"/>
              <a:gd name="connsiteX1117" fmla="*/ 2215408 w 9854218"/>
              <a:gd name="connsiteY1117" fmla="*/ 1741328 h 10287000"/>
              <a:gd name="connsiteX1118" fmla="*/ 2278674 w 9854218"/>
              <a:gd name="connsiteY1118" fmla="*/ 1652753 h 10287000"/>
              <a:gd name="connsiteX1119" fmla="*/ 2291330 w 9854218"/>
              <a:gd name="connsiteY1119" fmla="*/ 1640102 h 10287000"/>
              <a:gd name="connsiteX1120" fmla="*/ 2303982 w 9854218"/>
              <a:gd name="connsiteY1120" fmla="*/ 1602140 h 10287000"/>
              <a:gd name="connsiteX1121" fmla="*/ 2354598 w 9854218"/>
              <a:gd name="connsiteY1121" fmla="*/ 1526214 h 10287000"/>
              <a:gd name="connsiteX1122" fmla="*/ 2367250 w 9854218"/>
              <a:gd name="connsiteY1122" fmla="*/ 1513565 h 10287000"/>
              <a:gd name="connsiteX1123" fmla="*/ 2367251 w 9854218"/>
              <a:gd name="connsiteY1123" fmla="*/ 1500911 h 10287000"/>
              <a:gd name="connsiteX1124" fmla="*/ 2620324 w 9854218"/>
              <a:gd name="connsiteY1124" fmla="*/ 1095999 h 10287000"/>
              <a:gd name="connsiteX1125" fmla="*/ 2632978 w 9854218"/>
              <a:gd name="connsiteY1125" fmla="*/ 1083344 h 10287000"/>
              <a:gd name="connsiteX1126" fmla="*/ 2645628 w 9854218"/>
              <a:gd name="connsiteY1126" fmla="*/ 1070693 h 10287000"/>
              <a:gd name="connsiteX1127" fmla="*/ 2645626 w 9854218"/>
              <a:gd name="connsiteY1127" fmla="*/ 1058039 h 10287000"/>
              <a:gd name="connsiteX1128" fmla="*/ 2658282 w 9854218"/>
              <a:gd name="connsiteY1128" fmla="*/ 1045385 h 10287000"/>
              <a:gd name="connsiteX1129" fmla="*/ 2670936 w 9854218"/>
              <a:gd name="connsiteY1129" fmla="*/ 1045385 h 10287000"/>
              <a:gd name="connsiteX1130" fmla="*/ 2658280 w 9854218"/>
              <a:gd name="connsiteY1130" fmla="*/ 1070693 h 10287000"/>
              <a:gd name="connsiteX1131" fmla="*/ 2670938 w 9854218"/>
              <a:gd name="connsiteY1131" fmla="*/ 1070693 h 10287000"/>
              <a:gd name="connsiteX1132" fmla="*/ 2683589 w 9854218"/>
              <a:gd name="connsiteY1132" fmla="*/ 1070693 h 10287000"/>
              <a:gd name="connsiteX1133" fmla="*/ 2696244 w 9854218"/>
              <a:gd name="connsiteY1133" fmla="*/ 1058040 h 10287000"/>
              <a:gd name="connsiteX1134" fmla="*/ 2632978 w 9854218"/>
              <a:gd name="connsiteY1134" fmla="*/ 1159265 h 10287000"/>
              <a:gd name="connsiteX1135" fmla="*/ 2557054 w 9854218"/>
              <a:gd name="connsiteY1135" fmla="*/ 1235189 h 10287000"/>
              <a:gd name="connsiteX1136" fmla="*/ 2595012 w 9854218"/>
              <a:gd name="connsiteY1136" fmla="*/ 1222535 h 10287000"/>
              <a:gd name="connsiteX1137" fmla="*/ 2531747 w 9854218"/>
              <a:gd name="connsiteY1137" fmla="*/ 1323761 h 10287000"/>
              <a:gd name="connsiteX1138" fmla="*/ 2531747 w 9854218"/>
              <a:gd name="connsiteY1138" fmla="*/ 1311110 h 10287000"/>
              <a:gd name="connsiteX1139" fmla="*/ 2531748 w 9854218"/>
              <a:gd name="connsiteY1139" fmla="*/ 1298457 h 10287000"/>
              <a:gd name="connsiteX1140" fmla="*/ 2519093 w 9854218"/>
              <a:gd name="connsiteY1140" fmla="*/ 1311110 h 10287000"/>
              <a:gd name="connsiteX1141" fmla="*/ 2506440 w 9854218"/>
              <a:gd name="connsiteY1141" fmla="*/ 1336415 h 10287000"/>
              <a:gd name="connsiteX1142" fmla="*/ 2468480 w 9854218"/>
              <a:gd name="connsiteY1142" fmla="*/ 1374375 h 10287000"/>
              <a:gd name="connsiteX1143" fmla="*/ 2455824 w 9854218"/>
              <a:gd name="connsiteY1143" fmla="*/ 1387029 h 10287000"/>
              <a:gd name="connsiteX1144" fmla="*/ 2455826 w 9854218"/>
              <a:gd name="connsiteY1144" fmla="*/ 1399683 h 10287000"/>
              <a:gd name="connsiteX1145" fmla="*/ 2468480 w 9854218"/>
              <a:gd name="connsiteY1145" fmla="*/ 1399685 h 10287000"/>
              <a:gd name="connsiteX1146" fmla="*/ 2417864 w 9854218"/>
              <a:gd name="connsiteY1146" fmla="*/ 1450296 h 10287000"/>
              <a:gd name="connsiteX1147" fmla="*/ 2455824 w 9854218"/>
              <a:gd name="connsiteY1147" fmla="*/ 1450296 h 10287000"/>
              <a:gd name="connsiteX1148" fmla="*/ 2417861 w 9854218"/>
              <a:gd name="connsiteY1148" fmla="*/ 1513565 h 10287000"/>
              <a:gd name="connsiteX1149" fmla="*/ 2379904 w 9854218"/>
              <a:gd name="connsiteY1149" fmla="*/ 1551524 h 10287000"/>
              <a:gd name="connsiteX1150" fmla="*/ 2405212 w 9854218"/>
              <a:gd name="connsiteY1150" fmla="*/ 1538868 h 10287000"/>
              <a:gd name="connsiteX1151" fmla="*/ 2379904 w 9854218"/>
              <a:gd name="connsiteY1151" fmla="*/ 1564179 h 10287000"/>
              <a:gd name="connsiteX1152" fmla="*/ 2367250 w 9854218"/>
              <a:gd name="connsiteY1152" fmla="*/ 1602137 h 10287000"/>
              <a:gd name="connsiteX1153" fmla="*/ 2354598 w 9854218"/>
              <a:gd name="connsiteY1153" fmla="*/ 1614791 h 10287000"/>
              <a:gd name="connsiteX1154" fmla="*/ 2341944 w 9854218"/>
              <a:gd name="connsiteY1154" fmla="*/ 1627446 h 10287000"/>
              <a:gd name="connsiteX1155" fmla="*/ 2341943 w 9854218"/>
              <a:gd name="connsiteY1155" fmla="*/ 1640100 h 10287000"/>
              <a:gd name="connsiteX1156" fmla="*/ 2347962 w 9854218"/>
              <a:gd name="connsiteY1156" fmla="*/ 1639239 h 10287000"/>
              <a:gd name="connsiteX1157" fmla="*/ 2340360 w 9854218"/>
              <a:gd name="connsiteY1157" fmla="*/ 1652750 h 10287000"/>
              <a:gd name="connsiteX1158" fmla="*/ 2316635 w 9854218"/>
              <a:gd name="connsiteY1158" fmla="*/ 1678061 h 10287000"/>
              <a:gd name="connsiteX1159" fmla="*/ 2316636 w 9854218"/>
              <a:gd name="connsiteY1159" fmla="*/ 1690712 h 10287000"/>
              <a:gd name="connsiteX1160" fmla="*/ 2316635 w 9854218"/>
              <a:gd name="connsiteY1160" fmla="*/ 1703367 h 10287000"/>
              <a:gd name="connsiteX1161" fmla="*/ 2278674 w 9854218"/>
              <a:gd name="connsiteY1161" fmla="*/ 1779284 h 10287000"/>
              <a:gd name="connsiteX1162" fmla="*/ 2240716 w 9854218"/>
              <a:gd name="connsiteY1162" fmla="*/ 1829903 h 10287000"/>
              <a:gd name="connsiteX1163" fmla="*/ 2228057 w 9854218"/>
              <a:gd name="connsiteY1163" fmla="*/ 1829903 h 10287000"/>
              <a:gd name="connsiteX1164" fmla="*/ 2215409 w 9854218"/>
              <a:gd name="connsiteY1164" fmla="*/ 1829900 h 10287000"/>
              <a:gd name="connsiteX1165" fmla="*/ 2215409 w 9854218"/>
              <a:gd name="connsiteY1165" fmla="*/ 1855205 h 10287000"/>
              <a:gd name="connsiteX1166" fmla="*/ 2215408 w 9854218"/>
              <a:gd name="connsiteY1166" fmla="*/ 1867862 h 10287000"/>
              <a:gd name="connsiteX1167" fmla="*/ 2215409 w 9854218"/>
              <a:gd name="connsiteY1167" fmla="*/ 1893168 h 10287000"/>
              <a:gd name="connsiteX1168" fmla="*/ 2152139 w 9854218"/>
              <a:gd name="connsiteY1168" fmla="*/ 1994397 h 10287000"/>
              <a:gd name="connsiteX1169" fmla="*/ 2139485 w 9854218"/>
              <a:gd name="connsiteY1169" fmla="*/ 2019704 h 10287000"/>
              <a:gd name="connsiteX1170" fmla="*/ 2139486 w 9854218"/>
              <a:gd name="connsiteY1170" fmla="*/ 2032355 h 10287000"/>
              <a:gd name="connsiteX1171" fmla="*/ 2139485 w 9854218"/>
              <a:gd name="connsiteY1171" fmla="*/ 2045012 h 10287000"/>
              <a:gd name="connsiteX1172" fmla="*/ 2101526 w 9854218"/>
              <a:gd name="connsiteY1172" fmla="*/ 2095623 h 10287000"/>
              <a:gd name="connsiteX1173" fmla="*/ 2083730 w 9854218"/>
              <a:gd name="connsiteY1173" fmla="*/ 2134771 h 10287000"/>
              <a:gd name="connsiteX1174" fmla="*/ 2088130 w 9854218"/>
              <a:gd name="connsiteY1174" fmla="*/ 2144585 h 10287000"/>
              <a:gd name="connsiteX1175" fmla="*/ 2087437 w 9854218"/>
              <a:gd name="connsiteY1175" fmla="*/ 2146015 h 10287000"/>
              <a:gd name="connsiteX1176" fmla="*/ 2088870 w 9854218"/>
              <a:gd name="connsiteY1176" fmla="*/ 2146236 h 10287000"/>
              <a:gd name="connsiteX1177" fmla="*/ 2088130 w 9854218"/>
              <a:gd name="connsiteY1177" fmla="*/ 2144585 h 10287000"/>
              <a:gd name="connsiteX1178" fmla="*/ 2091639 w 9854218"/>
              <a:gd name="connsiteY1178" fmla="*/ 2137342 h 10287000"/>
              <a:gd name="connsiteX1179" fmla="*/ 2152139 w 9854218"/>
              <a:gd name="connsiteY1179" fmla="*/ 2032358 h 10287000"/>
              <a:gd name="connsiteX1180" fmla="*/ 2164793 w 9854218"/>
              <a:gd name="connsiteY1180" fmla="*/ 2019704 h 10287000"/>
              <a:gd name="connsiteX1181" fmla="*/ 2177447 w 9854218"/>
              <a:gd name="connsiteY1181" fmla="*/ 2007050 h 10287000"/>
              <a:gd name="connsiteX1182" fmla="*/ 2164794 w 9854218"/>
              <a:gd name="connsiteY1182" fmla="*/ 1994397 h 10287000"/>
              <a:gd name="connsiteX1183" fmla="*/ 2177447 w 9854218"/>
              <a:gd name="connsiteY1183" fmla="*/ 1969089 h 10287000"/>
              <a:gd name="connsiteX1184" fmla="*/ 2202754 w 9854218"/>
              <a:gd name="connsiteY1184" fmla="*/ 1956437 h 10287000"/>
              <a:gd name="connsiteX1185" fmla="*/ 2228057 w 9854218"/>
              <a:gd name="connsiteY1185" fmla="*/ 1880516 h 10287000"/>
              <a:gd name="connsiteX1186" fmla="*/ 2228060 w 9854218"/>
              <a:gd name="connsiteY1186" fmla="*/ 1867862 h 10287000"/>
              <a:gd name="connsiteX1187" fmla="*/ 2240714 w 9854218"/>
              <a:gd name="connsiteY1187" fmla="*/ 1867862 h 10287000"/>
              <a:gd name="connsiteX1188" fmla="*/ 2253370 w 9854218"/>
              <a:gd name="connsiteY1188" fmla="*/ 1855208 h 10287000"/>
              <a:gd name="connsiteX1189" fmla="*/ 2253370 w 9854218"/>
              <a:gd name="connsiteY1189" fmla="*/ 1842557 h 10287000"/>
              <a:gd name="connsiteX1190" fmla="*/ 2240712 w 9854218"/>
              <a:gd name="connsiteY1190" fmla="*/ 1842554 h 10287000"/>
              <a:gd name="connsiteX1191" fmla="*/ 2329289 w 9854218"/>
              <a:gd name="connsiteY1191" fmla="*/ 1703364 h 10287000"/>
              <a:gd name="connsiteX1192" fmla="*/ 2329290 w 9854218"/>
              <a:gd name="connsiteY1192" fmla="*/ 1716023 h 10287000"/>
              <a:gd name="connsiteX1193" fmla="*/ 2341943 w 9854218"/>
              <a:gd name="connsiteY1193" fmla="*/ 1703366 h 10287000"/>
              <a:gd name="connsiteX1194" fmla="*/ 2341943 w 9854218"/>
              <a:gd name="connsiteY1194" fmla="*/ 1690709 h 10287000"/>
              <a:gd name="connsiteX1195" fmla="*/ 2367250 w 9854218"/>
              <a:gd name="connsiteY1195" fmla="*/ 1627446 h 10287000"/>
              <a:gd name="connsiteX1196" fmla="*/ 2379904 w 9854218"/>
              <a:gd name="connsiteY1196" fmla="*/ 1627443 h 10287000"/>
              <a:gd name="connsiteX1197" fmla="*/ 2379904 w 9854218"/>
              <a:gd name="connsiteY1197" fmla="*/ 1614791 h 10287000"/>
              <a:gd name="connsiteX1198" fmla="*/ 2379900 w 9854218"/>
              <a:gd name="connsiteY1198" fmla="*/ 1602140 h 10287000"/>
              <a:gd name="connsiteX1199" fmla="*/ 2465318 w 9854218"/>
              <a:gd name="connsiteY1199" fmla="*/ 1468683 h 10287000"/>
              <a:gd name="connsiteX1200" fmla="*/ 2481902 w 9854218"/>
              <a:gd name="connsiteY1200" fmla="*/ 1450599 h 10287000"/>
              <a:gd name="connsiteX1201" fmla="*/ 2579830 w 9854218"/>
              <a:gd name="connsiteY1201" fmla="*/ 1265063 h 10287000"/>
              <a:gd name="connsiteX1202" fmla="*/ 3038504 w 9854218"/>
              <a:gd name="connsiteY1202" fmla="*/ 556154 h 10287000"/>
              <a:gd name="connsiteX1203" fmla="*/ 3295808 w 9854218"/>
              <a:gd name="connsiteY1203" fmla="*/ 235523 h 10287000"/>
              <a:gd name="connsiteX1204" fmla="*/ 3509334 w 9854218"/>
              <a:gd name="connsiteY1204" fmla="*/ 0 h 10287000"/>
              <a:gd name="connsiteX1205" fmla="*/ 9854218 w 9854218"/>
              <a:gd name="connsiteY1205" fmla="*/ 0 h 10287000"/>
              <a:gd name="connsiteX1206" fmla="*/ 9854218 w 9854218"/>
              <a:gd name="connsiteY1206" fmla="*/ 10287000 h 10287000"/>
              <a:gd name="connsiteX1207" fmla="*/ 4569194 w 9854218"/>
              <a:gd name="connsiteY1207" fmla="*/ 10287000 h 10287000"/>
              <a:gd name="connsiteX1208" fmla="*/ 4512034 w 9854218"/>
              <a:gd name="connsiteY1208" fmla="*/ 10239735 h 10287000"/>
              <a:gd name="connsiteX1209" fmla="*/ 4429784 w 9854218"/>
              <a:gd name="connsiteY1209" fmla="*/ 10181214 h 10287000"/>
              <a:gd name="connsiteX1210" fmla="*/ 4404479 w 9854218"/>
              <a:gd name="connsiteY1210" fmla="*/ 10143254 h 10287000"/>
              <a:gd name="connsiteX1211" fmla="*/ 4404479 w 9854218"/>
              <a:gd name="connsiteY1211" fmla="*/ 10130601 h 10287000"/>
              <a:gd name="connsiteX1212" fmla="*/ 4366518 w 9854218"/>
              <a:gd name="connsiteY1212" fmla="*/ 10092639 h 10287000"/>
              <a:gd name="connsiteX1213" fmla="*/ 4353864 w 9854218"/>
              <a:gd name="connsiteY1213" fmla="*/ 10079984 h 10287000"/>
              <a:gd name="connsiteX1214" fmla="*/ 4341210 w 9854218"/>
              <a:gd name="connsiteY1214" fmla="*/ 10079986 h 10287000"/>
              <a:gd name="connsiteX1215" fmla="*/ 4366518 w 9854218"/>
              <a:gd name="connsiteY1215" fmla="*/ 10105293 h 10287000"/>
              <a:gd name="connsiteX1216" fmla="*/ 4379172 w 9854218"/>
              <a:gd name="connsiteY1216" fmla="*/ 10130601 h 10287000"/>
              <a:gd name="connsiteX1217" fmla="*/ 4379170 w 9854218"/>
              <a:gd name="connsiteY1217" fmla="*/ 10143254 h 10287000"/>
              <a:gd name="connsiteX1218" fmla="*/ 4366518 w 9854218"/>
              <a:gd name="connsiteY1218" fmla="*/ 10143254 h 10287000"/>
              <a:gd name="connsiteX1219" fmla="*/ 4366518 w 9854218"/>
              <a:gd name="connsiteY1219" fmla="*/ 10130601 h 10287000"/>
              <a:gd name="connsiteX1220" fmla="*/ 4353864 w 9854218"/>
              <a:gd name="connsiteY1220" fmla="*/ 10130602 h 10287000"/>
              <a:gd name="connsiteX1221" fmla="*/ 4341210 w 9854218"/>
              <a:gd name="connsiteY1221" fmla="*/ 10117947 h 10287000"/>
              <a:gd name="connsiteX1222" fmla="*/ 4328555 w 9854218"/>
              <a:gd name="connsiteY1222" fmla="*/ 10105293 h 10287000"/>
              <a:gd name="connsiteX1223" fmla="*/ 4328555 w 9854218"/>
              <a:gd name="connsiteY1223" fmla="*/ 10092639 h 10287000"/>
              <a:gd name="connsiteX1224" fmla="*/ 4315904 w 9854218"/>
              <a:gd name="connsiteY1224" fmla="*/ 10079986 h 10287000"/>
              <a:gd name="connsiteX1225" fmla="*/ 4303250 w 9854218"/>
              <a:gd name="connsiteY1225" fmla="*/ 10079985 h 10287000"/>
              <a:gd name="connsiteX1226" fmla="*/ 4303250 w 9854218"/>
              <a:gd name="connsiteY1226" fmla="*/ 10092639 h 10287000"/>
              <a:gd name="connsiteX1227" fmla="*/ 4315901 w 9854218"/>
              <a:gd name="connsiteY1227" fmla="*/ 10105293 h 10287000"/>
              <a:gd name="connsiteX1228" fmla="*/ 4303250 w 9854218"/>
              <a:gd name="connsiteY1228" fmla="*/ 10117946 h 10287000"/>
              <a:gd name="connsiteX1229" fmla="*/ 4252632 w 9854218"/>
              <a:gd name="connsiteY1229" fmla="*/ 10067332 h 10287000"/>
              <a:gd name="connsiteX1230" fmla="*/ 4252636 w 9854218"/>
              <a:gd name="connsiteY1230" fmla="*/ 10092639 h 10287000"/>
              <a:gd name="connsiteX1231" fmla="*/ 4227329 w 9854218"/>
              <a:gd name="connsiteY1231" fmla="*/ 10079986 h 10287000"/>
              <a:gd name="connsiteX1232" fmla="*/ 4189368 w 9854218"/>
              <a:gd name="connsiteY1232" fmla="*/ 10042026 h 10287000"/>
              <a:gd name="connsiteX1233" fmla="*/ 4138756 w 9854218"/>
              <a:gd name="connsiteY1233" fmla="*/ 10004066 h 10287000"/>
              <a:gd name="connsiteX1234" fmla="*/ 4189368 w 9854218"/>
              <a:gd name="connsiteY1234" fmla="*/ 10016718 h 10287000"/>
              <a:gd name="connsiteX1235" fmla="*/ 4126100 w 9854218"/>
              <a:gd name="connsiteY1235" fmla="*/ 9940797 h 10287000"/>
              <a:gd name="connsiteX1236" fmla="*/ 4113446 w 9854218"/>
              <a:gd name="connsiteY1236" fmla="*/ 9928143 h 10287000"/>
              <a:gd name="connsiteX1237" fmla="*/ 4138754 w 9854218"/>
              <a:gd name="connsiteY1237" fmla="*/ 9928143 h 10287000"/>
              <a:gd name="connsiteX1238" fmla="*/ 4126100 w 9854218"/>
              <a:gd name="connsiteY1238" fmla="*/ 9902836 h 10287000"/>
              <a:gd name="connsiteX1239" fmla="*/ 4113446 w 9854218"/>
              <a:gd name="connsiteY1239" fmla="*/ 9890182 h 10287000"/>
              <a:gd name="connsiteX1240" fmla="*/ 4100792 w 9854218"/>
              <a:gd name="connsiteY1240" fmla="*/ 9877532 h 10287000"/>
              <a:gd name="connsiteX1241" fmla="*/ 4100790 w 9854218"/>
              <a:gd name="connsiteY1241" fmla="*/ 9890182 h 10287000"/>
              <a:gd name="connsiteX1242" fmla="*/ 4113444 w 9854218"/>
              <a:gd name="connsiteY1242" fmla="*/ 9902836 h 10287000"/>
              <a:gd name="connsiteX1243" fmla="*/ 4113446 w 9854218"/>
              <a:gd name="connsiteY1243" fmla="*/ 9915490 h 10287000"/>
              <a:gd name="connsiteX1244" fmla="*/ 4062832 w 9854218"/>
              <a:gd name="connsiteY1244" fmla="*/ 9877532 h 10287000"/>
              <a:gd name="connsiteX1245" fmla="*/ 4062832 w 9854218"/>
              <a:gd name="connsiteY1245" fmla="*/ 9902836 h 10287000"/>
              <a:gd name="connsiteX1246" fmla="*/ 4012217 w 9854218"/>
              <a:gd name="connsiteY1246" fmla="*/ 9877532 h 10287000"/>
              <a:gd name="connsiteX1247" fmla="*/ 4012217 w 9854218"/>
              <a:gd name="connsiteY1247" fmla="*/ 9890182 h 10287000"/>
              <a:gd name="connsiteX1248" fmla="*/ 3999564 w 9854218"/>
              <a:gd name="connsiteY1248" fmla="*/ 9864876 h 10287000"/>
              <a:gd name="connsiteX1249" fmla="*/ 3986910 w 9854218"/>
              <a:gd name="connsiteY1249" fmla="*/ 9852222 h 10287000"/>
              <a:gd name="connsiteX1250" fmla="*/ 3974254 w 9854218"/>
              <a:gd name="connsiteY1250" fmla="*/ 9839571 h 10287000"/>
              <a:gd name="connsiteX1251" fmla="*/ 3974256 w 9854218"/>
              <a:gd name="connsiteY1251" fmla="*/ 9852222 h 10287000"/>
              <a:gd name="connsiteX1252" fmla="*/ 3936298 w 9854218"/>
              <a:gd name="connsiteY1252" fmla="*/ 9826916 h 10287000"/>
              <a:gd name="connsiteX1253" fmla="*/ 3936296 w 9854218"/>
              <a:gd name="connsiteY1253" fmla="*/ 9814262 h 10287000"/>
              <a:gd name="connsiteX1254" fmla="*/ 3936298 w 9854218"/>
              <a:gd name="connsiteY1254" fmla="*/ 9801610 h 10287000"/>
              <a:gd name="connsiteX1255" fmla="*/ 3923640 w 9854218"/>
              <a:gd name="connsiteY1255" fmla="*/ 9801610 h 10287000"/>
              <a:gd name="connsiteX1256" fmla="*/ 3910988 w 9854218"/>
              <a:gd name="connsiteY1256" fmla="*/ 9801610 h 10287000"/>
              <a:gd name="connsiteX1257" fmla="*/ 3898332 w 9854218"/>
              <a:gd name="connsiteY1257" fmla="*/ 9788956 h 10287000"/>
              <a:gd name="connsiteX1258" fmla="*/ 3898336 w 9854218"/>
              <a:gd name="connsiteY1258" fmla="*/ 9776301 h 10287000"/>
              <a:gd name="connsiteX1259" fmla="*/ 3898336 w 9854218"/>
              <a:gd name="connsiteY1259" fmla="*/ 9750996 h 10287000"/>
              <a:gd name="connsiteX1260" fmla="*/ 3885682 w 9854218"/>
              <a:gd name="connsiteY1260" fmla="*/ 9750996 h 10287000"/>
              <a:gd name="connsiteX1261" fmla="*/ 3885680 w 9854218"/>
              <a:gd name="connsiteY1261" fmla="*/ 9763644 h 10287000"/>
              <a:gd name="connsiteX1262" fmla="*/ 3885682 w 9854218"/>
              <a:gd name="connsiteY1262" fmla="*/ 9776301 h 10287000"/>
              <a:gd name="connsiteX1263" fmla="*/ 3847722 w 9854218"/>
              <a:gd name="connsiteY1263" fmla="*/ 9738340 h 10287000"/>
              <a:gd name="connsiteX1264" fmla="*/ 3847722 w 9854218"/>
              <a:gd name="connsiteY1264" fmla="*/ 9763647 h 10287000"/>
              <a:gd name="connsiteX1265" fmla="*/ 3835066 w 9854218"/>
              <a:gd name="connsiteY1265" fmla="*/ 9738340 h 10287000"/>
              <a:gd name="connsiteX1266" fmla="*/ 3835067 w 9854218"/>
              <a:gd name="connsiteY1266" fmla="*/ 9725686 h 10287000"/>
              <a:gd name="connsiteX1267" fmla="*/ 3759146 w 9854218"/>
              <a:gd name="connsiteY1267" fmla="*/ 9649764 h 10287000"/>
              <a:gd name="connsiteX1268" fmla="*/ 3759146 w 9854218"/>
              <a:gd name="connsiteY1268" fmla="*/ 9662421 h 10287000"/>
              <a:gd name="connsiteX1269" fmla="*/ 3746490 w 9854218"/>
              <a:gd name="connsiteY1269" fmla="*/ 9637114 h 10287000"/>
              <a:gd name="connsiteX1270" fmla="*/ 3733836 w 9854218"/>
              <a:gd name="connsiteY1270" fmla="*/ 9624460 h 10287000"/>
              <a:gd name="connsiteX1271" fmla="*/ 3733836 w 9854218"/>
              <a:gd name="connsiteY1271" fmla="*/ 9636734 h 10287000"/>
              <a:gd name="connsiteX1272" fmla="*/ 3640518 w 9854218"/>
              <a:gd name="connsiteY1272" fmla="*/ 9540630 h 10287000"/>
              <a:gd name="connsiteX1273" fmla="*/ 3544034 w 9854218"/>
              <a:gd name="connsiteY1273" fmla="*/ 9459962 h 10287000"/>
              <a:gd name="connsiteX1274" fmla="*/ 3379536 w 9854218"/>
              <a:gd name="connsiteY1274" fmla="*/ 9270158 h 10287000"/>
              <a:gd name="connsiteX1275" fmla="*/ 3240347 w 9854218"/>
              <a:gd name="connsiteY1275" fmla="*/ 9118320 h 10287000"/>
              <a:gd name="connsiteX1276" fmla="*/ 3227696 w 9854218"/>
              <a:gd name="connsiteY1276" fmla="*/ 9118320 h 10287000"/>
              <a:gd name="connsiteX1277" fmla="*/ 3075851 w 9854218"/>
              <a:gd name="connsiteY1277" fmla="*/ 8903210 h 10287000"/>
              <a:gd name="connsiteX1278" fmla="*/ 3063197 w 9854218"/>
              <a:gd name="connsiteY1278" fmla="*/ 8915864 h 10287000"/>
              <a:gd name="connsiteX1279" fmla="*/ 3025236 w 9854218"/>
              <a:gd name="connsiteY1279" fmla="*/ 8827288 h 10287000"/>
              <a:gd name="connsiteX1280" fmla="*/ 3025238 w 9854218"/>
              <a:gd name="connsiteY1280" fmla="*/ 8865246 h 10287000"/>
              <a:gd name="connsiteX1281" fmla="*/ 2924008 w 9854218"/>
              <a:gd name="connsiteY1281" fmla="*/ 8688099 h 10287000"/>
              <a:gd name="connsiteX1282" fmla="*/ 2873393 w 9854218"/>
              <a:gd name="connsiteY1282" fmla="*/ 8650138 h 10287000"/>
              <a:gd name="connsiteX1283" fmla="*/ 2873393 w 9854218"/>
              <a:gd name="connsiteY1283" fmla="*/ 8637488 h 10287000"/>
              <a:gd name="connsiteX1284" fmla="*/ 2873392 w 9854218"/>
              <a:gd name="connsiteY1284" fmla="*/ 8624834 h 10287000"/>
              <a:gd name="connsiteX1285" fmla="*/ 2860744 w 9854218"/>
              <a:gd name="connsiteY1285" fmla="*/ 8624834 h 10287000"/>
              <a:gd name="connsiteX1286" fmla="*/ 2506439 w 9854218"/>
              <a:gd name="connsiteY1286" fmla="*/ 8042772 h 10287000"/>
              <a:gd name="connsiteX1287" fmla="*/ 2503470 w 9854218"/>
              <a:gd name="connsiteY1287" fmla="*/ 8056143 h 10287000"/>
              <a:gd name="connsiteX1288" fmla="*/ 2422608 w 9854218"/>
              <a:gd name="connsiteY1288" fmla="*/ 7928891 h 10287000"/>
              <a:gd name="connsiteX1289" fmla="*/ 2354598 w 9854218"/>
              <a:gd name="connsiteY1289" fmla="*/ 7777047 h 10287000"/>
              <a:gd name="connsiteX1290" fmla="*/ 2316635 w 9854218"/>
              <a:gd name="connsiteY1290" fmla="*/ 7701123 h 10287000"/>
              <a:gd name="connsiteX1291" fmla="*/ 2266022 w 9854218"/>
              <a:gd name="connsiteY1291" fmla="*/ 7637859 h 10287000"/>
              <a:gd name="connsiteX1292" fmla="*/ 2266022 w 9854218"/>
              <a:gd name="connsiteY1292" fmla="*/ 7625202 h 10287000"/>
              <a:gd name="connsiteX1293" fmla="*/ 2164794 w 9854218"/>
              <a:gd name="connsiteY1293" fmla="*/ 7397444 h 10287000"/>
              <a:gd name="connsiteX1294" fmla="*/ 2164793 w 9854218"/>
              <a:gd name="connsiteY1294" fmla="*/ 7384790 h 10287000"/>
              <a:gd name="connsiteX1295" fmla="*/ 2126832 w 9854218"/>
              <a:gd name="connsiteY1295" fmla="*/ 7334175 h 10287000"/>
              <a:gd name="connsiteX1296" fmla="*/ 2114180 w 9854218"/>
              <a:gd name="connsiteY1296" fmla="*/ 7346829 h 10287000"/>
              <a:gd name="connsiteX1297" fmla="*/ 2126832 w 9854218"/>
              <a:gd name="connsiteY1297" fmla="*/ 7372134 h 10287000"/>
              <a:gd name="connsiteX1298" fmla="*/ 2139485 w 9854218"/>
              <a:gd name="connsiteY1298" fmla="*/ 7397444 h 10287000"/>
              <a:gd name="connsiteX1299" fmla="*/ 2202752 w 9854218"/>
              <a:gd name="connsiteY1299" fmla="*/ 7549284 h 10287000"/>
              <a:gd name="connsiteX1300" fmla="*/ 2240714 w 9854218"/>
              <a:gd name="connsiteY1300" fmla="*/ 7637859 h 10287000"/>
              <a:gd name="connsiteX1301" fmla="*/ 2253368 w 9854218"/>
              <a:gd name="connsiteY1301" fmla="*/ 7663166 h 10287000"/>
              <a:gd name="connsiteX1302" fmla="*/ 2267009 w 9854218"/>
              <a:gd name="connsiteY1302" fmla="*/ 7702709 h 10287000"/>
              <a:gd name="connsiteX1303" fmla="*/ 2268472 w 9854218"/>
              <a:gd name="connsiteY1303" fmla="*/ 7706363 h 10287000"/>
              <a:gd name="connsiteX1304" fmla="*/ 2183772 w 9854218"/>
              <a:gd name="connsiteY1304" fmla="*/ 7539792 h 10287000"/>
              <a:gd name="connsiteX1305" fmla="*/ 2088870 w 9854218"/>
              <a:gd name="connsiteY1305" fmla="*/ 7372134 h 10287000"/>
              <a:gd name="connsiteX1306" fmla="*/ 2076218 w 9854218"/>
              <a:gd name="connsiteY1306" fmla="*/ 7359483 h 10287000"/>
              <a:gd name="connsiteX1307" fmla="*/ 2076220 w 9854218"/>
              <a:gd name="connsiteY1307" fmla="*/ 7346829 h 10287000"/>
              <a:gd name="connsiteX1308" fmla="*/ 1911722 w 9854218"/>
              <a:gd name="connsiteY1308" fmla="*/ 6815382 h 10287000"/>
              <a:gd name="connsiteX1309" fmla="*/ 1861103 w 9854218"/>
              <a:gd name="connsiteY1309" fmla="*/ 6676193 h 10287000"/>
              <a:gd name="connsiteX1310" fmla="*/ 1861103 w 9854218"/>
              <a:gd name="connsiteY1310" fmla="*/ 6625580 h 10287000"/>
              <a:gd name="connsiteX1311" fmla="*/ 1861106 w 9854218"/>
              <a:gd name="connsiteY1311" fmla="*/ 6612926 h 10287000"/>
              <a:gd name="connsiteX1312" fmla="*/ 1861106 w 9854218"/>
              <a:gd name="connsiteY1312" fmla="*/ 6574965 h 10287000"/>
              <a:gd name="connsiteX1313" fmla="*/ 1810492 w 9854218"/>
              <a:gd name="connsiteY1313" fmla="*/ 6359856 h 10287000"/>
              <a:gd name="connsiteX1314" fmla="*/ 1810492 w 9854218"/>
              <a:gd name="connsiteY1314" fmla="*/ 6347198 h 10287000"/>
              <a:gd name="connsiteX1315" fmla="*/ 1810493 w 9854218"/>
              <a:gd name="connsiteY1315" fmla="*/ 6334550 h 10287000"/>
              <a:gd name="connsiteX1316" fmla="*/ 1797844 w 9854218"/>
              <a:gd name="connsiteY1316" fmla="*/ 6296589 h 10287000"/>
              <a:gd name="connsiteX1317" fmla="*/ 1797840 w 9854218"/>
              <a:gd name="connsiteY1317" fmla="*/ 6283932 h 10287000"/>
              <a:gd name="connsiteX1318" fmla="*/ 1785185 w 9854218"/>
              <a:gd name="connsiteY1318" fmla="*/ 6208014 h 10287000"/>
              <a:gd name="connsiteX1319" fmla="*/ 1797839 w 9854218"/>
              <a:gd name="connsiteY1319" fmla="*/ 6182706 h 10287000"/>
              <a:gd name="connsiteX1320" fmla="*/ 1785185 w 9854218"/>
              <a:gd name="connsiteY1320" fmla="*/ 6170054 h 10287000"/>
              <a:gd name="connsiteX1321" fmla="*/ 1772531 w 9854218"/>
              <a:gd name="connsiteY1321" fmla="*/ 6106785 h 10287000"/>
              <a:gd name="connsiteX1322" fmla="*/ 1785185 w 9854218"/>
              <a:gd name="connsiteY1322" fmla="*/ 6094131 h 10287000"/>
              <a:gd name="connsiteX1323" fmla="*/ 1759878 w 9854218"/>
              <a:gd name="connsiteY1323" fmla="*/ 5841063 h 10287000"/>
              <a:gd name="connsiteX1324" fmla="*/ 1772531 w 9854218"/>
              <a:gd name="connsiteY1324" fmla="*/ 5853713 h 10287000"/>
              <a:gd name="connsiteX1325" fmla="*/ 1747224 w 9854218"/>
              <a:gd name="connsiteY1325" fmla="*/ 5714525 h 10287000"/>
              <a:gd name="connsiteX1326" fmla="*/ 1747224 w 9854218"/>
              <a:gd name="connsiteY1326" fmla="*/ 5410842 h 10287000"/>
              <a:gd name="connsiteX1327" fmla="*/ 1759878 w 9854218"/>
              <a:gd name="connsiteY1327" fmla="*/ 5398188 h 10287000"/>
              <a:gd name="connsiteX1328" fmla="*/ 1759878 w 9854218"/>
              <a:gd name="connsiteY1328" fmla="*/ 5372882 h 10287000"/>
              <a:gd name="connsiteX1329" fmla="*/ 1747224 w 9854218"/>
              <a:gd name="connsiteY1329" fmla="*/ 5360225 h 10287000"/>
              <a:gd name="connsiteX1330" fmla="*/ 1747224 w 9854218"/>
              <a:gd name="connsiteY1330" fmla="*/ 5347577 h 10287000"/>
              <a:gd name="connsiteX1331" fmla="*/ 1747224 w 9854218"/>
              <a:gd name="connsiteY1331" fmla="*/ 5309616 h 10287000"/>
              <a:gd name="connsiteX1332" fmla="*/ 1747224 w 9854218"/>
              <a:gd name="connsiteY1332" fmla="*/ 5284304 h 10287000"/>
              <a:gd name="connsiteX1333" fmla="*/ 1734570 w 9854218"/>
              <a:gd name="connsiteY1333" fmla="*/ 5221037 h 10287000"/>
              <a:gd name="connsiteX1334" fmla="*/ 1747226 w 9854218"/>
              <a:gd name="connsiteY1334" fmla="*/ 5221038 h 10287000"/>
              <a:gd name="connsiteX1335" fmla="*/ 1747224 w 9854218"/>
              <a:gd name="connsiteY1335" fmla="*/ 5208387 h 10287000"/>
              <a:gd name="connsiteX1336" fmla="*/ 1747224 w 9854218"/>
              <a:gd name="connsiteY1336" fmla="*/ 5195732 h 10287000"/>
              <a:gd name="connsiteX1337" fmla="*/ 1734570 w 9854218"/>
              <a:gd name="connsiteY1337" fmla="*/ 5195730 h 10287000"/>
              <a:gd name="connsiteX1338" fmla="*/ 1734570 w 9854218"/>
              <a:gd name="connsiteY1338" fmla="*/ 5157770 h 10287000"/>
              <a:gd name="connsiteX1339" fmla="*/ 1759878 w 9854218"/>
              <a:gd name="connsiteY1339" fmla="*/ 5183081 h 10287000"/>
              <a:gd name="connsiteX1340" fmla="*/ 1759878 w 9854218"/>
              <a:gd name="connsiteY1340" fmla="*/ 5170424 h 10287000"/>
              <a:gd name="connsiteX1341" fmla="*/ 1861106 w 9854218"/>
              <a:gd name="connsiteY1341" fmla="*/ 5663910 h 10287000"/>
              <a:gd name="connsiteX1342" fmla="*/ 1873760 w 9854218"/>
              <a:gd name="connsiteY1342" fmla="*/ 5676567 h 10287000"/>
              <a:gd name="connsiteX1343" fmla="*/ 1873760 w 9854218"/>
              <a:gd name="connsiteY1343" fmla="*/ 5663913 h 10287000"/>
              <a:gd name="connsiteX1344" fmla="*/ 1873762 w 9854218"/>
              <a:gd name="connsiteY1344" fmla="*/ 5651256 h 10287000"/>
              <a:gd name="connsiteX1345" fmla="*/ 1772531 w 9854218"/>
              <a:gd name="connsiteY1345" fmla="*/ 5145120 h 10287000"/>
              <a:gd name="connsiteX1346" fmla="*/ 1747226 w 9854218"/>
              <a:gd name="connsiteY1346" fmla="*/ 5005928 h 10287000"/>
              <a:gd name="connsiteX1347" fmla="*/ 1709264 w 9854218"/>
              <a:gd name="connsiteY1347" fmla="*/ 4980624 h 10287000"/>
              <a:gd name="connsiteX1348" fmla="*/ 1721916 w 9854218"/>
              <a:gd name="connsiteY1348" fmla="*/ 4828781 h 10287000"/>
              <a:gd name="connsiteX1349" fmla="*/ 1709264 w 9854218"/>
              <a:gd name="connsiteY1349" fmla="*/ 4816124 h 10287000"/>
              <a:gd name="connsiteX1350" fmla="*/ 1709266 w 9854218"/>
              <a:gd name="connsiteY1350" fmla="*/ 4828781 h 10287000"/>
              <a:gd name="connsiteX1351" fmla="*/ 1696613 w 9854218"/>
              <a:gd name="connsiteY1351" fmla="*/ 4980624 h 10287000"/>
              <a:gd name="connsiteX1352" fmla="*/ 1683956 w 9854218"/>
              <a:gd name="connsiteY1352" fmla="*/ 4993277 h 10287000"/>
              <a:gd name="connsiteX1353" fmla="*/ 1671304 w 9854218"/>
              <a:gd name="connsiteY1353" fmla="*/ 4980624 h 10287000"/>
              <a:gd name="connsiteX1354" fmla="*/ 1671304 w 9854218"/>
              <a:gd name="connsiteY1354" fmla="*/ 4917353 h 10287000"/>
              <a:gd name="connsiteX1355" fmla="*/ 1683956 w 9854218"/>
              <a:gd name="connsiteY1355" fmla="*/ 4866741 h 10287000"/>
              <a:gd name="connsiteX1356" fmla="*/ 1683958 w 9854218"/>
              <a:gd name="connsiteY1356" fmla="*/ 4854090 h 10287000"/>
              <a:gd name="connsiteX1357" fmla="*/ 1683956 w 9854218"/>
              <a:gd name="connsiteY1357" fmla="*/ 4841432 h 10287000"/>
              <a:gd name="connsiteX1358" fmla="*/ 1696610 w 9854218"/>
              <a:gd name="connsiteY1358" fmla="*/ 4828776 h 10287000"/>
              <a:gd name="connsiteX1359" fmla="*/ 1696610 w 9854218"/>
              <a:gd name="connsiteY1359" fmla="*/ 4816127 h 10287000"/>
              <a:gd name="connsiteX1360" fmla="*/ 1696610 w 9854218"/>
              <a:gd name="connsiteY1360" fmla="*/ 4803474 h 10287000"/>
              <a:gd name="connsiteX1361" fmla="*/ 1683956 w 9854218"/>
              <a:gd name="connsiteY1361" fmla="*/ 4803471 h 10287000"/>
              <a:gd name="connsiteX1362" fmla="*/ 1671308 w 9854218"/>
              <a:gd name="connsiteY1362" fmla="*/ 4816127 h 10287000"/>
              <a:gd name="connsiteX1363" fmla="*/ 1671304 w 9854218"/>
              <a:gd name="connsiteY1363" fmla="*/ 4752860 h 10287000"/>
              <a:gd name="connsiteX1364" fmla="*/ 1671304 w 9854218"/>
              <a:gd name="connsiteY1364" fmla="*/ 4727555 h 10287000"/>
              <a:gd name="connsiteX1365" fmla="*/ 1658650 w 9854218"/>
              <a:gd name="connsiteY1365" fmla="*/ 4702250 h 10287000"/>
              <a:gd name="connsiteX1366" fmla="*/ 1671304 w 9854218"/>
              <a:gd name="connsiteY1366" fmla="*/ 4626324 h 10287000"/>
              <a:gd name="connsiteX1367" fmla="*/ 1683956 w 9854218"/>
              <a:gd name="connsiteY1367" fmla="*/ 4563062 h 10287000"/>
              <a:gd name="connsiteX1368" fmla="*/ 1683958 w 9854218"/>
              <a:gd name="connsiteY1368" fmla="*/ 4588368 h 10287000"/>
              <a:gd name="connsiteX1369" fmla="*/ 1683960 w 9854218"/>
              <a:gd name="connsiteY1369" fmla="*/ 4638981 h 10287000"/>
              <a:gd name="connsiteX1370" fmla="*/ 1683958 w 9854218"/>
              <a:gd name="connsiteY1370" fmla="*/ 4651632 h 10287000"/>
              <a:gd name="connsiteX1371" fmla="*/ 1696612 w 9854218"/>
              <a:gd name="connsiteY1371" fmla="*/ 4714899 h 10287000"/>
              <a:gd name="connsiteX1372" fmla="*/ 1709264 w 9854218"/>
              <a:gd name="connsiteY1372" fmla="*/ 4714898 h 10287000"/>
              <a:gd name="connsiteX1373" fmla="*/ 1721918 w 9854218"/>
              <a:gd name="connsiteY1373" fmla="*/ 4702250 h 10287000"/>
              <a:gd name="connsiteX1374" fmla="*/ 1734570 w 9854218"/>
              <a:gd name="connsiteY1374" fmla="*/ 4689593 h 10287000"/>
              <a:gd name="connsiteX1375" fmla="*/ 1734570 w 9854218"/>
              <a:gd name="connsiteY1375" fmla="*/ 4676942 h 10287000"/>
              <a:gd name="connsiteX1376" fmla="*/ 1734574 w 9854218"/>
              <a:gd name="connsiteY1376" fmla="*/ 4664288 h 10287000"/>
              <a:gd name="connsiteX1377" fmla="*/ 1721916 w 9854218"/>
              <a:gd name="connsiteY1377" fmla="*/ 4676942 h 10287000"/>
              <a:gd name="connsiteX1378" fmla="*/ 1709264 w 9854218"/>
              <a:gd name="connsiteY1378" fmla="*/ 4689597 h 10287000"/>
              <a:gd name="connsiteX1379" fmla="*/ 1696610 w 9854218"/>
              <a:gd name="connsiteY1379" fmla="*/ 4651632 h 10287000"/>
              <a:gd name="connsiteX1380" fmla="*/ 1696610 w 9854218"/>
              <a:gd name="connsiteY1380" fmla="*/ 4575714 h 10287000"/>
              <a:gd name="connsiteX1381" fmla="*/ 1696610 w 9854218"/>
              <a:gd name="connsiteY1381" fmla="*/ 4537751 h 10287000"/>
              <a:gd name="connsiteX1382" fmla="*/ 1696610 w 9854218"/>
              <a:gd name="connsiteY1382" fmla="*/ 4487138 h 10287000"/>
              <a:gd name="connsiteX1383" fmla="*/ 1709267 w 9854218"/>
              <a:gd name="connsiteY1383" fmla="*/ 4436526 h 10287000"/>
              <a:gd name="connsiteX1384" fmla="*/ 1709264 w 9854218"/>
              <a:gd name="connsiteY1384" fmla="*/ 4423871 h 10287000"/>
              <a:gd name="connsiteX1385" fmla="*/ 1709264 w 9854218"/>
              <a:gd name="connsiteY1385" fmla="*/ 4385910 h 10287000"/>
              <a:gd name="connsiteX1386" fmla="*/ 1721916 w 9854218"/>
              <a:gd name="connsiteY1386" fmla="*/ 4398566 h 10287000"/>
              <a:gd name="connsiteX1387" fmla="*/ 1734570 w 9854218"/>
              <a:gd name="connsiteY1387" fmla="*/ 4373259 h 10287000"/>
              <a:gd name="connsiteX1388" fmla="*/ 1721916 w 9854218"/>
              <a:gd name="connsiteY1388" fmla="*/ 4347947 h 10287000"/>
              <a:gd name="connsiteX1389" fmla="*/ 1734570 w 9854218"/>
              <a:gd name="connsiteY1389" fmla="*/ 4335296 h 10287000"/>
              <a:gd name="connsiteX1390" fmla="*/ 1721916 w 9854218"/>
              <a:gd name="connsiteY1390" fmla="*/ 4322646 h 10287000"/>
              <a:gd name="connsiteX1391" fmla="*/ 1721918 w 9854218"/>
              <a:gd name="connsiteY1391" fmla="*/ 4297335 h 10287000"/>
              <a:gd name="connsiteX1392" fmla="*/ 1734570 w 9854218"/>
              <a:gd name="connsiteY1392" fmla="*/ 4259375 h 10287000"/>
              <a:gd name="connsiteX1393" fmla="*/ 1747226 w 9854218"/>
              <a:gd name="connsiteY1393" fmla="*/ 4246719 h 10287000"/>
              <a:gd name="connsiteX1394" fmla="*/ 1747224 w 9854218"/>
              <a:gd name="connsiteY1394" fmla="*/ 4221419 h 10287000"/>
              <a:gd name="connsiteX1395" fmla="*/ 1759880 w 9854218"/>
              <a:gd name="connsiteY1395" fmla="*/ 4183454 h 10287000"/>
              <a:gd name="connsiteX1396" fmla="*/ 1759880 w 9854218"/>
              <a:gd name="connsiteY1396" fmla="*/ 4158146 h 10287000"/>
              <a:gd name="connsiteX1397" fmla="*/ 1759882 w 9854218"/>
              <a:gd name="connsiteY1397" fmla="*/ 4132838 h 10287000"/>
              <a:gd name="connsiteX1398" fmla="*/ 1747226 w 9854218"/>
              <a:gd name="connsiteY1398" fmla="*/ 4145492 h 10287000"/>
              <a:gd name="connsiteX1399" fmla="*/ 1747224 w 9854218"/>
              <a:gd name="connsiteY1399" fmla="*/ 4094879 h 10287000"/>
              <a:gd name="connsiteX1400" fmla="*/ 1759878 w 9854218"/>
              <a:gd name="connsiteY1400" fmla="*/ 4056920 h 10287000"/>
              <a:gd name="connsiteX1401" fmla="*/ 1759880 w 9854218"/>
              <a:gd name="connsiteY1401" fmla="*/ 4044264 h 10287000"/>
              <a:gd name="connsiteX1402" fmla="*/ 1759878 w 9854218"/>
              <a:gd name="connsiteY1402" fmla="*/ 4018959 h 10287000"/>
              <a:gd name="connsiteX1403" fmla="*/ 1772531 w 9854218"/>
              <a:gd name="connsiteY1403" fmla="*/ 4018959 h 10287000"/>
              <a:gd name="connsiteX1404" fmla="*/ 1759878 w 9854218"/>
              <a:gd name="connsiteY1404" fmla="*/ 4082226 h 10287000"/>
              <a:gd name="connsiteX1405" fmla="*/ 1759878 w 9854218"/>
              <a:gd name="connsiteY1405" fmla="*/ 4094879 h 10287000"/>
              <a:gd name="connsiteX1406" fmla="*/ 1772532 w 9854218"/>
              <a:gd name="connsiteY1406" fmla="*/ 4082226 h 10287000"/>
              <a:gd name="connsiteX1407" fmla="*/ 1772531 w 9854218"/>
              <a:gd name="connsiteY1407" fmla="*/ 4018959 h 10287000"/>
              <a:gd name="connsiteX1408" fmla="*/ 1785185 w 9854218"/>
              <a:gd name="connsiteY1408" fmla="*/ 4018956 h 10287000"/>
              <a:gd name="connsiteX1409" fmla="*/ 1797839 w 9854218"/>
              <a:gd name="connsiteY1409" fmla="*/ 3993647 h 10287000"/>
              <a:gd name="connsiteX1410" fmla="*/ 1797839 w 9854218"/>
              <a:gd name="connsiteY1410" fmla="*/ 3980997 h 10287000"/>
              <a:gd name="connsiteX1411" fmla="*/ 1785185 w 9854218"/>
              <a:gd name="connsiteY1411" fmla="*/ 3943038 h 10287000"/>
              <a:gd name="connsiteX1412" fmla="*/ 1785188 w 9854218"/>
              <a:gd name="connsiteY1412" fmla="*/ 3930384 h 10287000"/>
              <a:gd name="connsiteX1413" fmla="*/ 1797839 w 9854218"/>
              <a:gd name="connsiteY1413" fmla="*/ 3892421 h 10287000"/>
              <a:gd name="connsiteX1414" fmla="*/ 1823146 w 9854218"/>
              <a:gd name="connsiteY1414" fmla="*/ 3803846 h 10287000"/>
              <a:gd name="connsiteX1415" fmla="*/ 1848454 w 9854218"/>
              <a:gd name="connsiteY1415" fmla="*/ 3702623 h 10287000"/>
              <a:gd name="connsiteX1416" fmla="*/ 1848454 w 9854218"/>
              <a:gd name="connsiteY1416" fmla="*/ 3689967 h 10287000"/>
              <a:gd name="connsiteX1417" fmla="*/ 1873760 w 9854218"/>
              <a:gd name="connsiteY1417" fmla="*/ 3614048 h 10287000"/>
              <a:gd name="connsiteX1418" fmla="*/ 1899068 w 9854218"/>
              <a:gd name="connsiteY1418" fmla="*/ 3487509 h 10287000"/>
              <a:gd name="connsiteX1419" fmla="*/ 1924374 w 9854218"/>
              <a:gd name="connsiteY1419" fmla="*/ 3398939 h 10287000"/>
              <a:gd name="connsiteX1420" fmla="*/ 1937030 w 9854218"/>
              <a:gd name="connsiteY1420" fmla="*/ 3323013 h 10287000"/>
              <a:gd name="connsiteX1421" fmla="*/ 1962335 w 9854218"/>
              <a:gd name="connsiteY1421" fmla="*/ 3259749 h 10287000"/>
              <a:gd name="connsiteX1422" fmla="*/ 1991070 w 9854218"/>
              <a:gd name="connsiteY1422" fmla="*/ 3218426 h 10287000"/>
              <a:gd name="connsiteX1423" fmla="*/ 2009375 w 9854218"/>
              <a:gd name="connsiteY1423" fmla="*/ 3131484 h 10287000"/>
              <a:gd name="connsiteX1424" fmla="*/ 2101524 w 9854218"/>
              <a:gd name="connsiteY1424" fmla="*/ 2813634 h 10287000"/>
              <a:gd name="connsiteX1425" fmla="*/ 2101523 w 9854218"/>
              <a:gd name="connsiteY1425" fmla="*/ 2804220 h 10287000"/>
              <a:gd name="connsiteX1426" fmla="*/ 2101522 w 9854218"/>
              <a:gd name="connsiteY1426" fmla="*/ 2791569 h 10287000"/>
              <a:gd name="connsiteX1427" fmla="*/ 2088870 w 9854218"/>
              <a:gd name="connsiteY1427" fmla="*/ 2791569 h 10287000"/>
              <a:gd name="connsiteX1428" fmla="*/ 2088870 w 9854218"/>
              <a:gd name="connsiteY1428" fmla="*/ 2766260 h 10287000"/>
              <a:gd name="connsiteX1429" fmla="*/ 2103107 w 9854218"/>
              <a:gd name="connsiteY1429" fmla="*/ 2764679 h 10287000"/>
              <a:gd name="connsiteX1430" fmla="*/ 2117687 w 9854218"/>
              <a:gd name="connsiteY1430" fmla="*/ 2757873 h 10287000"/>
              <a:gd name="connsiteX1431" fmla="*/ 2150044 w 9854218"/>
              <a:gd name="connsiteY1431" fmla="*/ 2646270 h 10287000"/>
              <a:gd name="connsiteX1432" fmla="*/ 2170826 w 9854218"/>
              <a:gd name="connsiteY1432" fmla="*/ 2589693 h 10287000"/>
              <a:gd name="connsiteX1433" fmla="*/ 2152136 w 9854218"/>
              <a:gd name="connsiteY1433" fmla="*/ 2627073 h 10287000"/>
              <a:gd name="connsiteX1434" fmla="*/ 2139486 w 9854218"/>
              <a:gd name="connsiteY1434" fmla="*/ 2677683 h 10287000"/>
              <a:gd name="connsiteX1435" fmla="*/ 2126832 w 9854218"/>
              <a:gd name="connsiteY1435" fmla="*/ 2677683 h 10287000"/>
              <a:gd name="connsiteX1436" fmla="*/ 2190101 w 9854218"/>
              <a:gd name="connsiteY1436" fmla="*/ 2525843 h 10287000"/>
              <a:gd name="connsiteX1437" fmla="*/ 2193160 w 9854218"/>
              <a:gd name="connsiteY1437" fmla="*/ 2528904 h 10287000"/>
              <a:gd name="connsiteX1438" fmla="*/ 2326253 w 9854218"/>
              <a:gd name="connsiteY1438" fmla="*/ 2166623 h 10287000"/>
              <a:gd name="connsiteX1439" fmla="*/ 2536276 w 9854218"/>
              <a:gd name="connsiteY1439" fmla="*/ 1692287 h 10287000"/>
              <a:gd name="connsiteX1440" fmla="*/ 2779430 w 9854218"/>
              <a:gd name="connsiteY1440" fmla="*/ 1247916 h 10287000"/>
              <a:gd name="connsiteX1441" fmla="*/ 2770664 w 9854218"/>
              <a:gd name="connsiteY1441" fmla="*/ 1177716 h 10287000"/>
              <a:gd name="connsiteX1442" fmla="*/ 2749036 w 9854218"/>
              <a:gd name="connsiteY1442" fmla="*/ 1173831 h 10287000"/>
              <a:gd name="connsiteX1443" fmla="*/ 2722301 w 9854218"/>
              <a:gd name="connsiteY1443" fmla="*/ 1216800 h 10287000"/>
              <a:gd name="connsiteX1444" fmla="*/ 2664288 w 9854218"/>
              <a:gd name="connsiteY1444" fmla="*/ 1332978 h 10287000"/>
              <a:gd name="connsiteX1445" fmla="*/ 2203618 w 9854218"/>
              <a:gd name="connsiteY1445" fmla="*/ 2299605 h 10287000"/>
              <a:gd name="connsiteX1446" fmla="*/ 1707262 w 9854218"/>
              <a:gd name="connsiteY1446" fmla="*/ 4283838 h 10287000"/>
              <a:gd name="connsiteX1447" fmla="*/ 1681160 w 9854218"/>
              <a:gd name="connsiteY1447" fmla="*/ 4307601 h 10287000"/>
              <a:gd name="connsiteX1448" fmla="*/ 1666626 w 9854218"/>
              <a:gd name="connsiteY1448" fmla="*/ 4250051 h 10287000"/>
              <a:gd name="connsiteX1449" fmla="*/ 1755719 w 9854218"/>
              <a:gd name="connsiteY1449" fmla="*/ 3618369 h 10287000"/>
              <a:gd name="connsiteX1450" fmla="*/ 2213906 w 9854218"/>
              <a:gd name="connsiteY1450" fmla="*/ 2011451 h 10287000"/>
              <a:gd name="connsiteX1451" fmla="*/ 2291730 w 9854218"/>
              <a:gd name="connsiteY1451" fmla="*/ 1839899 h 10287000"/>
              <a:gd name="connsiteX1452" fmla="*/ 2270768 w 9854218"/>
              <a:gd name="connsiteY1452" fmla="*/ 1875771 h 10287000"/>
              <a:gd name="connsiteX1453" fmla="*/ 2228062 w 9854218"/>
              <a:gd name="connsiteY1453" fmla="*/ 1969091 h 10287000"/>
              <a:gd name="connsiteX1454" fmla="*/ 2088868 w 9854218"/>
              <a:gd name="connsiteY1454" fmla="*/ 2209505 h 10287000"/>
              <a:gd name="connsiteX1455" fmla="*/ 1987640 w 9854218"/>
              <a:gd name="connsiteY1455" fmla="*/ 2449925 h 10287000"/>
              <a:gd name="connsiteX1456" fmla="*/ 1974989 w 9854218"/>
              <a:gd name="connsiteY1456" fmla="*/ 2462577 h 10287000"/>
              <a:gd name="connsiteX1457" fmla="*/ 1974990 w 9854218"/>
              <a:gd name="connsiteY1457" fmla="*/ 2475228 h 10287000"/>
              <a:gd name="connsiteX1458" fmla="*/ 1987643 w 9854218"/>
              <a:gd name="connsiteY1458" fmla="*/ 2475230 h 10287000"/>
              <a:gd name="connsiteX1459" fmla="*/ 1974989 w 9854218"/>
              <a:gd name="connsiteY1459" fmla="*/ 2538498 h 10287000"/>
              <a:gd name="connsiteX1460" fmla="*/ 1974989 w 9854218"/>
              <a:gd name="connsiteY1460" fmla="*/ 2551151 h 10287000"/>
              <a:gd name="connsiteX1461" fmla="*/ 1987643 w 9854218"/>
              <a:gd name="connsiteY1461" fmla="*/ 2551154 h 10287000"/>
              <a:gd name="connsiteX1462" fmla="*/ 2000297 w 9854218"/>
              <a:gd name="connsiteY1462" fmla="*/ 2551154 h 10287000"/>
              <a:gd name="connsiteX1463" fmla="*/ 2000296 w 9854218"/>
              <a:gd name="connsiteY1463" fmla="*/ 2563802 h 10287000"/>
              <a:gd name="connsiteX1464" fmla="*/ 1962335 w 9854218"/>
              <a:gd name="connsiteY1464" fmla="*/ 2652381 h 10287000"/>
              <a:gd name="connsiteX1465" fmla="*/ 1924374 w 9854218"/>
              <a:gd name="connsiteY1465" fmla="*/ 2690342 h 10287000"/>
              <a:gd name="connsiteX1466" fmla="*/ 1949678 w 9854218"/>
              <a:gd name="connsiteY1466" fmla="*/ 2690340 h 10287000"/>
              <a:gd name="connsiteX1467" fmla="*/ 1873757 w 9854218"/>
              <a:gd name="connsiteY1467" fmla="*/ 2867490 h 10287000"/>
              <a:gd name="connsiteX1468" fmla="*/ 1886414 w 9854218"/>
              <a:gd name="connsiteY1468" fmla="*/ 2880144 h 10287000"/>
              <a:gd name="connsiteX1469" fmla="*/ 1861106 w 9854218"/>
              <a:gd name="connsiteY1469" fmla="*/ 2905451 h 10287000"/>
              <a:gd name="connsiteX1470" fmla="*/ 1861108 w 9854218"/>
              <a:gd name="connsiteY1470" fmla="*/ 2943410 h 10287000"/>
              <a:gd name="connsiteX1471" fmla="*/ 1772531 w 9854218"/>
              <a:gd name="connsiteY1471" fmla="*/ 3196478 h 10287000"/>
              <a:gd name="connsiteX1472" fmla="*/ 1747226 w 9854218"/>
              <a:gd name="connsiteY1472" fmla="*/ 3272402 h 10287000"/>
              <a:gd name="connsiteX1473" fmla="*/ 1645997 w 9854218"/>
              <a:gd name="connsiteY1473" fmla="*/ 3576087 h 10287000"/>
              <a:gd name="connsiteX1474" fmla="*/ 1633342 w 9854218"/>
              <a:gd name="connsiteY1474" fmla="*/ 3689967 h 10287000"/>
              <a:gd name="connsiteX1475" fmla="*/ 1608035 w 9854218"/>
              <a:gd name="connsiteY1475" fmla="*/ 3715275 h 10287000"/>
              <a:gd name="connsiteX1476" fmla="*/ 1595384 w 9854218"/>
              <a:gd name="connsiteY1476" fmla="*/ 3677315 h 10287000"/>
              <a:gd name="connsiteX1477" fmla="*/ 1570074 w 9854218"/>
              <a:gd name="connsiteY1477" fmla="*/ 3727928 h 10287000"/>
              <a:gd name="connsiteX1478" fmla="*/ 1570076 w 9854218"/>
              <a:gd name="connsiteY1478" fmla="*/ 3740582 h 10287000"/>
              <a:gd name="connsiteX1479" fmla="*/ 1557420 w 9854218"/>
              <a:gd name="connsiteY1479" fmla="*/ 3740582 h 10287000"/>
              <a:gd name="connsiteX1480" fmla="*/ 1557422 w 9854218"/>
              <a:gd name="connsiteY1480" fmla="*/ 3753236 h 10287000"/>
              <a:gd name="connsiteX1481" fmla="*/ 1544766 w 9854218"/>
              <a:gd name="connsiteY1481" fmla="*/ 3765888 h 10287000"/>
              <a:gd name="connsiteX1482" fmla="*/ 1532116 w 9854218"/>
              <a:gd name="connsiteY1482" fmla="*/ 3816503 h 10287000"/>
              <a:gd name="connsiteX1483" fmla="*/ 1494154 w 9854218"/>
              <a:gd name="connsiteY1483" fmla="*/ 3955688 h 10287000"/>
              <a:gd name="connsiteX1484" fmla="*/ 1481500 w 9854218"/>
              <a:gd name="connsiteY1484" fmla="*/ 3968345 h 10287000"/>
              <a:gd name="connsiteX1485" fmla="*/ 1481500 w 9854218"/>
              <a:gd name="connsiteY1485" fmla="*/ 3993647 h 10287000"/>
              <a:gd name="connsiteX1486" fmla="*/ 1481501 w 9854218"/>
              <a:gd name="connsiteY1486" fmla="*/ 4006304 h 10287000"/>
              <a:gd name="connsiteX1487" fmla="*/ 1381853 w 9854218"/>
              <a:gd name="connsiteY1487" fmla="*/ 4214495 h 10287000"/>
              <a:gd name="connsiteX1488" fmla="*/ 1368499 w 9854218"/>
              <a:gd name="connsiteY1488" fmla="*/ 4261914 h 10287000"/>
              <a:gd name="connsiteX1489" fmla="*/ 1368140 w 9854218"/>
              <a:gd name="connsiteY1489" fmla="*/ 4265309 h 10287000"/>
              <a:gd name="connsiteX1490" fmla="*/ 1388314 w 9854218"/>
              <a:gd name="connsiteY1490" fmla="*/ 4280324 h 10287000"/>
              <a:gd name="connsiteX1491" fmla="*/ 1371136 w 9854218"/>
              <a:gd name="connsiteY1491" fmla="*/ 4408659 h 10287000"/>
              <a:gd name="connsiteX1492" fmla="*/ 1369580 w 9854218"/>
              <a:gd name="connsiteY1492" fmla="*/ 4545485 h 10287000"/>
              <a:gd name="connsiteX1493" fmla="*/ 1344680 w 9854218"/>
              <a:gd name="connsiteY1493" fmla="*/ 4621031 h 10287000"/>
              <a:gd name="connsiteX1494" fmla="*/ 1361503 w 9854218"/>
              <a:gd name="connsiteY1494" fmla="*/ 4686864 h 10287000"/>
              <a:gd name="connsiteX1495" fmla="*/ 1354621 w 9854218"/>
              <a:gd name="connsiteY1495" fmla="*/ 4885583 h 10287000"/>
              <a:gd name="connsiteX1496" fmla="*/ 1348517 w 9854218"/>
              <a:gd name="connsiteY1496" fmla="*/ 5015886 h 10287000"/>
              <a:gd name="connsiteX1497" fmla="*/ 1350493 w 9854218"/>
              <a:gd name="connsiteY1497" fmla="*/ 5004813 h 10287000"/>
              <a:gd name="connsiteX1498" fmla="*/ 1358993 w 9854218"/>
              <a:gd name="connsiteY1498" fmla="*/ 4989188 h 10287000"/>
              <a:gd name="connsiteX1499" fmla="*/ 1361566 w 9854218"/>
              <a:gd name="connsiteY1499" fmla="*/ 5006784 h 10287000"/>
              <a:gd name="connsiteX1500" fmla="*/ 1372642 w 9854218"/>
              <a:gd name="connsiteY1500" fmla="*/ 5008755 h 10287000"/>
              <a:gd name="connsiteX1501" fmla="*/ 1362166 w 9854218"/>
              <a:gd name="connsiteY1501" fmla="*/ 5035454 h 10287000"/>
              <a:gd name="connsiteX1502" fmla="*/ 1360192 w 9854218"/>
              <a:gd name="connsiteY1502" fmla="*/ 5046527 h 10287000"/>
              <a:gd name="connsiteX1503" fmla="*/ 1351691 w 9854218"/>
              <a:gd name="connsiteY1503" fmla="*/ 5062152 h 10287000"/>
              <a:gd name="connsiteX1504" fmla="*/ 1344566 w 9854218"/>
              <a:gd name="connsiteY1504" fmla="*/ 5038034 h 10287000"/>
              <a:gd name="connsiteX1505" fmla="*/ 1315892 w 9854218"/>
              <a:gd name="connsiteY1505" fmla="*/ 5038644 h 10287000"/>
              <a:gd name="connsiteX1506" fmla="*/ 1322174 w 9854218"/>
              <a:gd name="connsiteY1506" fmla="*/ 4811256 h 10287000"/>
              <a:gd name="connsiteX1507" fmla="*/ 1335581 w 9854218"/>
              <a:gd name="connsiteY1507" fmla="*/ 4607987 h 10287000"/>
              <a:gd name="connsiteX1508" fmla="*/ 1316006 w 9854218"/>
              <a:gd name="connsiteY1508" fmla="*/ 4621641 h 10287000"/>
              <a:gd name="connsiteX1509" fmla="*/ 1309060 w 9854218"/>
              <a:gd name="connsiteY1509" fmla="*/ 4500440 h 10287000"/>
              <a:gd name="connsiteX1510" fmla="*/ 1321690 w 9854218"/>
              <a:gd name="connsiteY1510" fmla="*/ 4365584 h 10287000"/>
              <a:gd name="connsiteX1511" fmla="*/ 1333078 w 9854218"/>
              <a:gd name="connsiteY1511" fmla="*/ 4329764 h 10287000"/>
              <a:gd name="connsiteX1512" fmla="*/ 1339778 w 9854218"/>
              <a:gd name="connsiteY1512" fmla="*/ 4294655 h 10287000"/>
              <a:gd name="connsiteX1513" fmla="*/ 1334128 w 9854218"/>
              <a:gd name="connsiteY1513" fmla="*/ 4283789 h 10287000"/>
              <a:gd name="connsiteX1514" fmla="*/ 1333241 w 9854218"/>
              <a:gd name="connsiteY1514" fmla="*/ 4284804 h 10287000"/>
              <a:gd name="connsiteX1515" fmla="*/ 1329890 w 9854218"/>
              <a:gd name="connsiteY1515" fmla="*/ 4279569 h 10287000"/>
              <a:gd name="connsiteX1516" fmla="*/ 1329440 w 9854218"/>
              <a:gd name="connsiteY1516" fmla="*/ 4274876 h 10287000"/>
              <a:gd name="connsiteX1517" fmla="*/ 1319377 w 9854218"/>
              <a:gd name="connsiteY1517" fmla="*/ 4260165 h 10287000"/>
              <a:gd name="connsiteX1518" fmla="*/ 1304350 w 9854218"/>
              <a:gd name="connsiteY1518" fmla="*/ 4259375 h 10287000"/>
              <a:gd name="connsiteX1519" fmla="*/ 1291700 w 9854218"/>
              <a:gd name="connsiteY1519" fmla="*/ 4411218 h 10287000"/>
              <a:gd name="connsiteX1520" fmla="*/ 1228430 w 9854218"/>
              <a:gd name="connsiteY1520" fmla="*/ 4309989 h 10287000"/>
              <a:gd name="connsiteX1521" fmla="*/ 1228429 w 9854218"/>
              <a:gd name="connsiteY1521" fmla="*/ 4297332 h 10287000"/>
              <a:gd name="connsiteX1522" fmla="*/ 1228429 w 9854218"/>
              <a:gd name="connsiteY1522" fmla="*/ 4259375 h 10287000"/>
              <a:gd name="connsiteX1523" fmla="*/ 1241081 w 9854218"/>
              <a:gd name="connsiteY1523" fmla="*/ 4272029 h 10287000"/>
              <a:gd name="connsiteX1524" fmla="*/ 1241083 w 9854218"/>
              <a:gd name="connsiteY1524" fmla="*/ 4284678 h 10287000"/>
              <a:gd name="connsiteX1525" fmla="*/ 1253735 w 9854218"/>
              <a:gd name="connsiteY1525" fmla="*/ 4272029 h 10287000"/>
              <a:gd name="connsiteX1526" fmla="*/ 1241083 w 9854218"/>
              <a:gd name="connsiteY1526" fmla="*/ 4234070 h 10287000"/>
              <a:gd name="connsiteX1527" fmla="*/ 1241081 w 9854218"/>
              <a:gd name="connsiteY1527" fmla="*/ 4221419 h 10287000"/>
              <a:gd name="connsiteX1528" fmla="*/ 1241081 w 9854218"/>
              <a:gd name="connsiteY1528" fmla="*/ 4208763 h 10287000"/>
              <a:gd name="connsiteX1529" fmla="*/ 1239502 w 9854218"/>
              <a:gd name="connsiteY1529" fmla="*/ 4197690 h 10287000"/>
              <a:gd name="connsiteX1530" fmla="*/ 1232377 w 9854218"/>
              <a:gd name="connsiteY1530" fmla="*/ 4196673 h 10287000"/>
              <a:gd name="connsiteX1531" fmla="*/ 1229462 w 9854218"/>
              <a:gd name="connsiteY1531" fmla="*/ 4233180 h 10287000"/>
              <a:gd name="connsiteX1532" fmla="*/ 1228429 w 9854218"/>
              <a:gd name="connsiteY1532" fmla="*/ 4233416 h 10287000"/>
              <a:gd name="connsiteX1533" fmla="*/ 1228429 w 9854218"/>
              <a:gd name="connsiteY1533" fmla="*/ 4234070 h 10287000"/>
              <a:gd name="connsiteX1534" fmla="*/ 1228429 w 9854218"/>
              <a:gd name="connsiteY1534" fmla="*/ 4246722 h 10287000"/>
              <a:gd name="connsiteX1535" fmla="*/ 1215775 w 9854218"/>
              <a:gd name="connsiteY1535" fmla="*/ 4259375 h 10287000"/>
              <a:gd name="connsiteX1536" fmla="*/ 1214402 w 9854218"/>
              <a:gd name="connsiteY1536" fmla="*/ 4223664 h 10287000"/>
              <a:gd name="connsiteX1537" fmla="*/ 1207888 w 9854218"/>
              <a:gd name="connsiteY1537" fmla="*/ 4209806 h 10287000"/>
              <a:gd name="connsiteX1538" fmla="*/ 1187569 w 9854218"/>
              <a:gd name="connsiteY1538" fmla="*/ 4574865 h 10287000"/>
              <a:gd name="connsiteX1539" fmla="*/ 1209595 w 9854218"/>
              <a:gd name="connsiteY1539" fmla="*/ 4587000 h 10287000"/>
              <a:gd name="connsiteX1540" fmla="*/ 1210015 w 9854218"/>
              <a:gd name="connsiteY1540" fmla="*/ 4716479 h 10287000"/>
              <a:gd name="connsiteX1541" fmla="*/ 1227065 w 9854218"/>
              <a:gd name="connsiteY1541" fmla="*/ 4852247 h 10287000"/>
              <a:gd name="connsiteX1542" fmla="*/ 1212661 w 9854218"/>
              <a:gd name="connsiteY1542" fmla="*/ 4930475 h 10287000"/>
              <a:gd name="connsiteX1543" fmla="*/ 1238272 w 9854218"/>
              <a:gd name="connsiteY1543" fmla="*/ 4993412 h 10287000"/>
              <a:gd name="connsiteX1544" fmla="*/ 1258454 w 9854218"/>
              <a:gd name="connsiteY1544" fmla="*/ 5191223 h 10287000"/>
              <a:gd name="connsiteX1545" fmla="*/ 1253197 w 9854218"/>
              <a:gd name="connsiteY1545" fmla="*/ 5210450 h 10287000"/>
              <a:gd name="connsiteX1546" fmla="*/ 1254044 w 9854218"/>
              <a:gd name="connsiteY1546" fmla="*/ 5240709 h 10287000"/>
              <a:gd name="connsiteX1547" fmla="*/ 1254724 w 9854218"/>
              <a:gd name="connsiteY1547" fmla="*/ 5240415 h 10287000"/>
              <a:gd name="connsiteX1548" fmla="*/ 1317005 w 9854218"/>
              <a:gd name="connsiteY1548" fmla="*/ 5398188 h 10287000"/>
              <a:gd name="connsiteX1549" fmla="*/ 1329656 w 9854218"/>
              <a:gd name="connsiteY1549" fmla="*/ 5372882 h 10287000"/>
              <a:gd name="connsiteX1550" fmla="*/ 1380271 w 9854218"/>
              <a:gd name="connsiteY1550" fmla="*/ 5613296 h 10287000"/>
              <a:gd name="connsiteX1551" fmla="*/ 1380271 w 9854218"/>
              <a:gd name="connsiteY1551" fmla="*/ 5651258 h 10287000"/>
              <a:gd name="connsiteX1552" fmla="*/ 1392926 w 9854218"/>
              <a:gd name="connsiteY1552" fmla="*/ 5638607 h 10287000"/>
              <a:gd name="connsiteX1553" fmla="*/ 1405579 w 9854218"/>
              <a:gd name="connsiteY1553" fmla="*/ 5651259 h 10287000"/>
              <a:gd name="connsiteX1554" fmla="*/ 1418234 w 9854218"/>
              <a:gd name="connsiteY1554" fmla="*/ 5663912 h 10287000"/>
              <a:gd name="connsiteX1555" fmla="*/ 1496526 w 9854218"/>
              <a:gd name="connsiteY1555" fmla="*/ 5884557 h 10287000"/>
              <a:gd name="connsiteX1556" fmla="*/ 1509760 w 9854218"/>
              <a:gd name="connsiteY1556" fmla="*/ 5906024 h 10287000"/>
              <a:gd name="connsiteX1557" fmla="*/ 1508820 w 9854218"/>
              <a:gd name="connsiteY1557" fmla="*/ 5901420 h 10287000"/>
              <a:gd name="connsiteX1558" fmla="*/ 1490338 w 9854218"/>
              <a:gd name="connsiteY1558" fmla="*/ 5825213 h 10287000"/>
              <a:gd name="connsiteX1559" fmla="*/ 1482641 w 9854218"/>
              <a:gd name="connsiteY1559" fmla="*/ 5729742 h 10287000"/>
              <a:gd name="connsiteX1560" fmla="*/ 1465153 w 9854218"/>
              <a:gd name="connsiteY1560" fmla="*/ 5726520 h 10287000"/>
              <a:gd name="connsiteX1561" fmla="*/ 1441958 w 9854218"/>
              <a:gd name="connsiteY1561" fmla="*/ 5479880 h 10287000"/>
              <a:gd name="connsiteX1562" fmla="*/ 1409186 w 9854218"/>
              <a:gd name="connsiteY1562" fmla="*/ 5245944 h 10287000"/>
              <a:gd name="connsiteX1563" fmla="*/ 1402835 w 9854218"/>
              <a:gd name="connsiteY1563" fmla="*/ 5241156 h 10287000"/>
              <a:gd name="connsiteX1564" fmla="*/ 1407625 w 9854218"/>
              <a:gd name="connsiteY1564" fmla="*/ 5234805 h 10287000"/>
              <a:gd name="connsiteX1565" fmla="*/ 1404505 w 9854218"/>
              <a:gd name="connsiteY1565" fmla="*/ 5212524 h 10287000"/>
              <a:gd name="connsiteX1566" fmla="*/ 1410854 w 9854218"/>
              <a:gd name="connsiteY1566" fmla="*/ 5217312 h 10287000"/>
              <a:gd name="connsiteX1567" fmla="*/ 1412483 w 9854218"/>
              <a:gd name="connsiteY1567" fmla="*/ 5218949 h 10287000"/>
              <a:gd name="connsiteX1568" fmla="*/ 1412413 w 9854218"/>
              <a:gd name="connsiteY1568" fmla="*/ 5228451 h 10287000"/>
              <a:gd name="connsiteX1569" fmla="*/ 1415812 w 9854218"/>
              <a:gd name="connsiteY1569" fmla="*/ 5222296 h 10287000"/>
              <a:gd name="connsiteX1570" fmla="*/ 1412483 w 9854218"/>
              <a:gd name="connsiteY1570" fmla="*/ 5218949 h 10287000"/>
              <a:gd name="connsiteX1571" fmla="*/ 1412731 w 9854218"/>
              <a:gd name="connsiteY1571" fmla="*/ 5185101 h 10287000"/>
              <a:gd name="connsiteX1572" fmla="*/ 1418980 w 9854218"/>
              <a:gd name="connsiteY1572" fmla="*/ 5153696 h 10287000"/>
              <a:gd name="connsiteX1573" fmla="*/ 1483608 w 9854218"/>
              <a:gd name="connsiteY1573" fmla="*/ 5371797 h 10287000"/>
              <a:gd name="connsiteX1574" fmla="*/ 1458209 w 9854218"/>
              <a:gd name="connsiteY1574" fmla="*/ 5352647 h 10287000"/>
              <a:gd name="connsiteX1575" fmla="*/ 1503359 w 9854218"/>
              <a:gd name="connsiteY1575" fmla="*/ 5715473 h 10287000"/>
              <a:gd name="connsiteX1576" fmla="*/ 1527197 w 9854218"/>
              <a:gd name="connsiteY1576" fmla="*/ 5723481 h 10287000"/>
              <a:gd name="connsiteX1577" fmla="*/ 1550714 w 9854218"/>
              <a:gd name="connsiteY1577" fmla="*/ 5850807 h 10287000"/>
              <a:gd name="connsiteX1578" fmla="*/ 1591721 w 9854218"/>
              <a:gd name="connsiteY1578" fmla="*/ 5981355 h 10287000"/>
              <a:gd name="connsiteX1579" fmla="*/ 1591505 w 9854218"/>
              <a:gd name="connsiteY1579" fmla="*/ 6060899 h 10287000"/>
              <a:gd name="connsiteX1580" fmla="*/ 1619156 w 9854218"/>
              <a:gd name="connsiteY1580" fmla="*/ 6092955 h 10287000"/>
              <a:gd name="connsiteX1581" fmla="*/ 1620138 w 9854218"/>
              <a:gd name="connsiteY1581" fmla="*/ 6095787 h 10287000"/>
              <a:gd name="connsiteX1582" fmla="*/ 1620689 w 9854218"/>
              <a:gd name="connsiteY1582" fmla="*/ 6081479 h 10287000"/>
              <a:gd name="connsiteX1583" fmla="*/ 1620694 w 9854218"/>
              <a:gd name="connsiteY1583" fmla="*/ 6068825 h 10287000"/>
              <a:gd name="connsiteX1584" fmla="*/ 1608040 w 9854218"/>
              <a:gd name="connsiteY1584" fmla="*/ 6056171 h 10287000"/>
              <a:gd name="connsiteX1585" fmla="*/ 1613374 w 9854218"/>
              <a:gd name="connsiteY1585" fmla="*/ 5872893 h 10287000"/>
              <a:gd name="connsiteX1586" fmla="*/ 1608806 w 9854218"/>
              <a:gd name="connsiteY1586" fmla="*/ 5802330 h 10287000"/>
              <a:gd name="connsiteX1587" fmla="*/ 1620689 w 9854218"/>
              <a:gd name="connsiteY1587" fmla="*/ 5790449 h 10287000"/>
              <a:gd name="connsiteX1588" fmla="*/ 1645996 w 9854218"/>
              <a:gd name="connsiteY1588" fmla="*/ 5790447 h 10287000"/>
              <a:gd name="connsiteX1589" fmla="*/ 1633342 w 9854218"/>
              <a:gd name="connsiteY1589" fmla="*/ 5841060 h 10287000"/>
              <a:gd name="connsiteX1590" fmla="*/ 1633343 w 9854218"/>
              <a:gd name="connsiteY1590" fmla="*/ 5828409 h 10287000"/>
              <a:gd name="connsiteX1591" fmla="*/ 1620689 w 9854218"/>
              <a:gd name="connsiteY1591" fmla="*/ 5828409 h 10287000"/>
              <a:gd name="connsiteX1592" fmla="*/ 1620689 w 9854218"/>
              <a:gd name="connsiteY1592" fmla="*/ 5841063 h 10287000"/>
              <a:gd name="connsiteX1593" fmla="*/ 1633344 w 9854218"/>
              <a:gd name="connsiteY1593" fmla="*/ 5853714 h 10287000"/>
              <a:gd name="connsiteX1594" fmla="*/ 1658651 w 9854218"/>
              <a:gd name="connsiteY1594" fmla="*/ 5904329 h 10287000"/>
              <a:gd name="connsiteX1595" fmla="*/ 1658650 w 9854218"/>
              <a:gd name="connsiteY1595" fmla="*/ 5992904 h 10287000"/>
              <a:gd name="connsiteX1596" fmla="*/ 1658650 w 9854218"/>
              <a:gd name="connsiteY1596" fmla="*/ 6005558 h 10287000"/>
              <a:gd name="connsiteX1597" fmla="*/ 1658650 w 9854218"/>
              <a:gd name="connsiteY1597" fmla="*/ 6030861 h 10287000"/>
              <a:gd name="connsiteX1598" fmla="*/ 1658651 w 9854218"/>
              <a:gd name="connsiteY1598" fmla="*/ 6043518 h 10287000"/>
              <a:gd name="connsiteX1599" fmla="*/ 1658652 w 9854218"/>
              <a:gd name="connsiteY1599" fmla="*/ 6119439 h 10287000"/>
              <a:gd name="connsiteX1600" fmla="*/ 1658650 w 9854218"/>
              <a:gd name="connsiteY1600" fmla="*/ 6132093 h 10287000"/>
              <a:gd name="connsiteX1601" fmla="*/ 1671304 w 9854218"/>
              <a:gd name="connsiteY1601" fmla="*/ 6144746 h 10287000"/>
              <a:gd name="connsiteX1602" fmla="*/ 1671304 w 9854218"/>
              <a:gd name="connsiteY1602" fmla="*/ 6157400 h 10287000"/>
              <a:gd name="connsiteX1603" fmla="*/ 1671304 w 9854218"/>
              <a:gd name="connsiteY1603" fmla="*/ 6182706 h 10287000"/>
              <a:gd name="connsiteX1604" fmla="*/ 1671304 w 9854218"/>
              <a:gd name="connsiteY1604" fmla="*/ 6195360 h 10287000"/>
              <a:gd name="connsiteX1605" fmla="*/ 1696612 w 9854218"/>
              <a:gd name="connsiteY1605" fmla="*/ 6271281 h 10287000"/>
              <a:gd name="connsiteX1606" fmla="*/ 1683956 w 9854218"/>
              <a:gd name="connsiteY1606" fmla="*/ 6271278 h 10287000"/>
              <a:gd name="connsiteX1607" fmla="*/ 1683956 w 9854218"/>
              <a:gd name="connsiteY1607" fmla="*/ 6283935 h 10287000"/>
              <a:gd name="connsiteX1608" fmla="*/ 1696610 w 9854218"/>
              <a:gd name="connsiteY1608" fmla="*/ 6309240 h 10287000"/>
              <a:gd name="connsiteX1609" fmla="*/ 1695425 w 9854218"/>
              <a:gd name="connsiteY1609" fmla="*/ 6372311 h 10287000"/>
              <a:gd name="connsiteX1610" fmla="*/ 1699331 w 9854218"/>
              <a:gd name="connsiteY1610" fmla="*/ 6394962 h 10287000"/>
              <a:gd name="connsiteX1611" fmla="*/ 1701635 w 9854218"/>
              <a:gd name="connsiteY1611" fmla="*/ 6401727 h 10287000"/>
              <a:gd name="connsiteX1612" fmla="*/ 1717750 w 9854218"/>
              <a:gd name="connsiteY1612" fmla="*/ 6435048 h 10287000"/>
              <a:gd name="connsiteX1613" fmla="*/ 1716190 w 9854218"/>
              <a:gd name="connsiteY1613" fmla="*/ 6423909 h 10287000"/>
              <a:gd name="connsiteX1614" fmla="*/ 1719419 w 9854218"/>
              <a:gd name="connsiteY1614" fmla="*/ 6406416 h 10287000"/>
              <a:gd name="connsiteX1615" fmla="*/ 1727328 w 9854218"/>
              <a:gd name="connsiteY1615" fmla="*/ 6422343 h 10287000"/>
              <a:gd name="connsiteX1616" fmla="*/ 1738468 w 9854218"/>
              <a:gd name="connsiteY1616" fmla="*/ 6420779 h 10287000"/>
              <a:gd name="connsiteX1617" fmla="*/ 1736798 w 9854218"/>
              <a:gd name="connsiteY1617" fmla="*/ 6449411 h 10287000"/>
              <a:gd name="connsiteX1618" fmla="*/ 1738361 w 9854218"/>
              <a:gd name="connsiteY1618" fmla="*/ 6460550 h 10287000"/>
              <a:gd name="connsiteX1619" fmla="*/ 1735132 w 9854218"/>
              <a:gd name="connsiteY1619" fmla="*/ 6478043 h 10287000"/>
              <a:gd name="connsiteX1620" fmla="*/ 1720871 w 9854218"/>
              <a:gd name="connsiteY1620" fmla="*/ 6457328 h 10287000"/>
              <a:gd name="connsiteX1621" fmla="*/ 1709114 w 9854218"/>
              <a:gd name="connsiteY1621" fmla="*/ 6447681 h 10287000"/>
              <a:gd name="connsiteX1622" fmla="*/ 1721522 w 9854218"/>
              <a:gd name="connsiteY1622" fmla="*/ 6503195 h 10287000"/>
              <a:gd name="connsiteX1623" fmla="*/ 1734572 w 9854218"/>
              <a:gd name="connsiteY1623" fmla="*/ 6587615 h 10287000"/>
              <a:gd name="connsiteX1624" fmla="*/ 1721918 w 9854218"/>
              <a:gd name="connsiteY1624" fmla="*/ 6600269 h 10287000"/>
              <a:gd name="connsiteX1625" fmla="*/ 1734570 w 9854218"/>
              <a:gd name="connsiteY1625" fmla="*/ 6625580 h 10287000"/>
              <a:gd name="connsiteX1626" fmla="*/ 1747224 w 9854218"/>
              <a:gd name="connsiteY1626" fmla="*/ 6638229 h 10287000"/>
              <a:gd name="connsiteX1627" fmla="*/ 1734570 w 9854218"/>
              <a:gd name="connsiteY1627" fmla="*/ 6638232 h 10287000"/>
              <a:gd name="connsiteX1628" fmla="*/ 1759880 w 9854218"/>
              <a:gd name="connsiteY1628" fmla="*/ 6714153 h 10287000"/>
              <a:gd name="connsiteX1629" fmla="*/ 1759882 w 9854218"/>
              <a:gd name="connsiteY1629" fmla="*/ 6726807 h 10287000"/>
              <a:gd name="connsiteX1630" fmla="*/ 1759880 w 9854218"/>
              <a:gd name="connsiteY1630" fmla="*/ 6739458 h 10287000"/>
              <a:gd name="connsiteX1631" fmla="*/ 1772531 w 9854218"/>
              <a:gd name="connsiteY1631" fmla="*/ 6752112 h 10287000"/>
              <a:gd name="connsiteX1632" fmla="*/ 1810493 w 9854218"/>
              <a:gd name="connsiteY1632" fmla="*/ 6929262 h 10287000"/>
              <a:gd name="connsiteX1633" fmla="*/ 1797839 w 9854218"/>
              <a:gd name="connsiteY1633" fmla="*/ 6929262 h 10287000"/>
              <a:gd name="connsiteX1634" fmla="*/ 1797839 w 9854218"/>
              <a:gd name="connsiteY1634" fmla="*/ 6941918 h 10287000"/>
              <a:gd name="connsiteX1635" fmla="*/ 1810493 w 9854218"/>
              <a:gd name="connsiteY1635" fmla="*/ 6967223 h 10287000"/>
              <a:gd name="connsiteX1636" fmla="*/ 1823147 w 9854218"/>
              <a:gd name="connsiteY1636" fmla="*/ 6979875 h 10287000"/>
              <a:gd name="connsiteX1637" fmla="*/ 1835800 w 9854218"/>
              <a:gd name="connsiteY1637" fmla="*/ 6967220 h 10287000"/>
              <a:gd name="connsiteX1638" fmla="*/ 1835801 w 9854218"/>
              <a:gd name="connsiteY1638" fmla="*/ 6954573 h 10287000"/>
              <a:gd name="connsiteX1639" fmla="*/ 1823147 w 9854218"/>
              <a:gd name="connsiteY1639" fmla="*/ 6941916 h 10287000"/>
              <a:gd name="connsiteX1640" fmla="*/ 1810493 w 9854218"/>
              <a:gd name="connsiteY1640" fmla="*/ 6878645 h 10287000"/>
              <a:gd name="connsiteX1641" fmla="*/ 1835800 w 9854218"/>
              <a:gd name="connsiteY1641" fmla="*/ 6916608 h 10287000"/>
              <a:gd name="connsiteX1642" fmla="*/ 1823146 w 9854218"/>
              <a:gd name="connsiteY1642" fmla="*/ 6865997 h 10287000"/>
              <a:gd name="connsiteX1643" fmla="*/ 1810492 w 9854218"/>
              <a:gd name="connsiteY1643" fmla="*/ 6865997 h 10287000"/>
              <a:gd name="connsiteX1644" fmla="*/ 1785185 w 9854218"/>
              <a:gd name="connsiteY1644" fmla="*/ 6752111 h 10287000"/>
              <a:gd name="connsiteX1645" fmla="*/ 1797840 w 9854218"/>
              <a:gd name="connsiteY1645" fmla="*/ 6739461 h 10287000"/>
              <a:gd name="connsiteX1646" fmla="*/ 1810492 w 9854218"/>
              <a:gd name="connsiteY1646" fmla="*/ 6739458 h 10287000"/>
              <a:gd name="connsiteX1647" fmla="*/ 1810492 w 9854218"/>
              <a:gd name="connsiteY1647" fmla="*/ 6752112 h 10287000"/>
              <a:gd name="connsiteX1648" fmla="*/ 1823146 w 9854218"/>
              <a:gd name="connsiteY1648" fmla="*/ 6739461 h 10287000"/>
              <a:gd name="connsiteX1649" fmla="*/ 1848454 w 9854218"/>
              <a:gd name="connsiteY1649" fmla="*/ 6815379 h 10287000"/>
              <a:gd name="connsiteX1650" fmla="*/ 1848455 w 9854218"/>
              <a:gd name="connsiteY1650" fmla="*/ 6790076 h 10287000"/>
              <a:gd name="connsiteX1651" fmla="*/ 1848455 w 9854218"/>
              <a:gd name="connsiteY1651" fmla="*/ 6865997 h 10287000"/>
              <a:gd name="connsiteX1652" fmla="*/ 1873762 w 9854218"/>
              <a:gd name="connsiteY1652" fmla="*/ 6891303 h 10287000"/>
              <a:gd name="connsiteX1653" fmla="*/ 1861106 w 9854218"/>
              <a:gd name="connsiteY1653" fmla="*/ 6891303 h 10287000"/>
              <a:gd name="connsiteX1654" fmla="*/ 1861106 w 9854218"/>
              <a:gd name="connsiteY1654" fmla="*/ 6903956 h 10287000"/>
              <a:gd name="connsiteX1655" fmla="*/ 1861103 w 9854218"/>
              <a:gd name="connsiteY1655" fmla="*/ 6916605 h 10287000"/>
              <a:gd name="connsiteX1656" fmla="*/ 1873760 w 9854218"/>
              <a:gd name="connsiteY1656" fmla="*/ 6916608 h 10287000"/>
              <a:gd name="connsiteX1657" fmla="*/ 1899070 w 9854218"/>
              <a:gd name="connsiteY1657" fmla="*/ 6967224 h 10287000"/>
              <a:gd name="connsiteX1658" fmla="*/ 1899070 w 9854218"/>
              <a:gd name="connsiteY1658" fmla="*/ 6929262 h 10287000"/>
              <a:gd name="connsiteX1659" fmla="*/ 1911720 w 9854218"/>
              <a:gd name="connsiteY1659" fmla="*/ 6992532 h 10287000"/>
              <a:gd name="connsiteX1660" fmla="*/ 1899068 w 9854218"/>
              <a:gd name="connsiteY1660" fmla="*/ 6979878 h 10287000"/>
              <a:gd name="connsiteX1661" fmla="*/ 1886411 w 9854218"/>
              <a:gd name="connsiteY1661" fmla="*/ 6992532 h 10287000"/>
              <a:gd name="connsiteX1662" fmla="*/ 1861108 w 9854218"/>
              <a:gd name="connsiteY1662" fmla="*/ 7017836 h 10287000"/>
              <a:gd name="connsiteX1663" fmla="*/ 1861108 w 9854218"/>
              <a:gd name="connsiteY1663" fmla="*/ 7043144 h 10287000"/>
              <a:gd name="connsiteX1664" fmla="*/ 1873757 w 9854218"/>
              <a:gd name="connsiteY1664" fmla="*/ 7068452 h 10287000"/>
              <a:gd name="connsiteX1665" fmla="*/ 1886414 w 9854218"/>
              <a:gd name="connsiteY1665" fmla="*/ 7068449 h 10287000"/>
              <a:gd name="connsiteX1666" fmla="*/ 1886414 w 9854218"/>
              <a:gd name="connsiteY1666" fmla="*/ 7043144 h 10287000"/>
              <a:gd name="connsiteX1667" fmla="*/ 1911718 w 9854218"/>
              <a:gd name="connsiteY1667" fmla="*/ 7068452 h 10287000"/>
              <a:gd name="connsiteX1668" fmla="*/ 1911719 w 9854218"/>
              <a:gd name="connsiteY1668" fmla="*/ 7081104 h 10287000"/>
              <a:gd name="connsiteX1669" fmla="*/ 1911720 w 9854218"/>
              <a:gd name="connsiteY1669" fmla="*/ 7106412 h 10287000"/>
              <a:gd name="connsiteX1670" fmla="*/ 1924376 w 9854218"/>
              <a:gd name="connsiteY1670" fmla="*/ 7106412 h 10287000"/>
              <a:gd name="connsiteX1671" fmla="*/ 1937026 w 9854218"/>
              <a:gd name="connsiteY1671" fmla="*/ 7106411 h 10287000"/>
              <a:gd name="connsiteX1672" fmla="*/ 1949682 w 9854218"/>
              <a:gd name="connsiteY1672" fmla="*/ 7093755 h 10287000"/>
              <a:gd name="connsiteX1673" fmla="*/ 1911722 w 9854218"/>
              <a:gd name="connsiteY1673" fmla="*/ 7131719 h 10287000"/>
              <a:gd name="connsiteX1674" fmla="*/ 1933865 w 9854218"/>
              <a:gd name="connsiteY1674" fmla="*/ 7193405 h 10287000"/>
              <a:gd name="connsiteX1675" fmla="*/ 1935281 w 9854218"/>
              <a:gd name="connsiteY1675" fmla="*/ 7216802 h 10287000"/>
              <a:gd name="connsiteX1676" fmla="*/ 1924374 w 9854218"/>
              <a:gd name="connsiteY1676" fmla="*/ 7194987 h 10287000"/>
              <a:gd name="connsiteX1677" fmla="*/ 1911720 w 9854218"/>
              <a:gd name="connsiteY1677" fmla="*/ 7220294 h 10287000"/>
              <a:gd name="connsiteX1678" fmla="*/ 1911720 w 9854218"/>
              <a:gd name="connsiteY1678" fmla="*/ 7232945 h 10287000"/>
              <a:gd name="connsiteX1679" fmla="*/ 1886416 w 9854218"/>
              <a:gd name="connsiteY1679" fmla="*/ 7169676 h 10287000"/>
              <a:gd name="connsiteX1680" fmla="*/ 1873760 w 9854218"/>
              <a:gd name="connsiteY1680" fmla="*/ 7182333 h 10287000"/>
              <a:gd name="connsiteX1681" fmla="*/ 1873760 w 9854218"/>
              <a:gd name="connsiteY1681" fmla="*/ 7220291 h 10287000"/>
              <a:gd name="connsiteX1682" fmla="*/ 1861106 w 9854218"/>
              <a:gd name="connsiteY1682" fmla="*/ 7207640 h 10287000"/>
              <a:gd name="connsiteX1683" fmla="*/ 1861106 w 9854218"/>
              <a:gd name="connsiteY1683" fmla="*/ 7220295 h 10287000"/>
              <a:gd name="connsiteX1684" fmla="*/ 1861106 w 9854218"/>
              <a:gd name="connsiteY1684" fmla="*/ 7232945 h 10287000"/>
              <a:gd name="connsiteX1685" fmla="*/ 1873762 w 9854218"/>
              <a:gd name="connsiteY1685" fmla="*/ 7245600 h 10287000"/>
              <a:gd name="connsiteX1686" fmla="*/ 1911720 w 9854218"/>
              <a:gd name="connsiteY1686" fmla="*/ 7334175 h 10287000"/>
              <a:gd name="connsiteX1687" fmla="*/ 1937030 w 9854218"/>
              <a:gd name="connsiteY1687" fmla="*/ 7321523 h 10287000"/>
              <a:gd name="connsiteX1688" fmla="*/ 1924374 w 9854218"/>
              <a:gd name="connsiteY1688" fmla="*/ 7270908 h 10287000"/>
              <a:gd name="connsiteX1689" fmla="*/ 1937028 w 9854218"/>
              <a:gd name="connsiteY1689" fmla="*/ 7283561 h 10287000"/>
              <a:gd name="connsiteX1690" fmla="*/ 1949678 w 9854218"/>
              <a:gd name="connsiteY1690" fmla="*/ 7308869 h 10287000"/>
              <a:gd name="connsiteX1691" fmla="*/ 1949681 w 9854218"/>
              <a:gd name="connsiteY1691" fmla="*/ 7270908 h 10287000"/>
              <a:gd name="connsiteX1692" fmla="*/ 1949681 w 9854218"/>
              <a:gd name="connsiteY1692" fmla="*/ 7258254 h 10287000"/>
              <a:gd name="connsiteX1693" fmla="*/ 1974986 w 9854218"/>
              <a:gd name="connsiteY1693" fmla="*/ 7346829 h 10287000"/>
              <a:gd name="connsiteX1694" fmla="*/ 1974989 w 9854218"/>
              <a:gd name="connsiteY1694" fmla="*/ 7359480 h 10287000"/>
              <a:gd name="connsiteX1695" fmla="*/ 1987643 w 9854218"/>
              <a:gd name="connsiteY1695" fmla="*/ 7372134 h 10287000"/>
              <a:gd name="connsiteX1696" fmla="*/ 2025602 w 9854218"/>
              <a:gd name="connsiteY1696" fmla="*/ 7460709 h 10287000"/>
              <a:gd name="connsiteX1697" fmla="*/ 2012950 w 9854218"/>
              <a:gd name="connsiteY1697" fmla="*/ 7448058 h 10287000"/>
              <a:gd name="connsiteX1698" fmla="*/ 2012951 w 9854218"/>
              <a:gd name="connsiteY1698" fmla="*/ 7460709 h 10287000"/>
              <a:gd name="connsiteX1699" fmla="*/ 2012946 w 9854218"/>
              <a:gd name="connsiteY1699" fmla="*/ 7486019 h 10287000"/>
              <a:gd name="connsiteX1700" fmla="*/ 2025604 w 9854218"/>
              <a:gd name="connsiteY1700" fmla="*/ 7486019 h 10287000"/>
              <a:gd name="connsiteX1701" fmla="*/ 2076218 w 9854218"/>
              <a:gd name="connsiteY1701" fmla="*/ 7574594 h 10287000"/>
              <a:gd name="connsiteX1702" fmla="*/ 2088870 w 9854218"/>
              <a:gd name="connsiteY1702" fmla="*/ 7625205 h 10287000"/>
              <a:gd name="connsiteX1703" fmla="*/ 2114180 w 9854218"/>
              <a:gd name="connsiteY1703" fmla="*/ 7688474 h 10287000"/>
              <a:gd name="connsiteX1704" fmla="*/ 2114180 w 9854218"/>
              <a:gd name="connsiteY1704" fmla="*/ 7701126 h 10287000"/>
              <a:gd name="connsiteX1705" fmla="*/ 2126834 w 9854218"/>
              <a:gd name="connsiteY1705" fmla="*/ 7713780 h 10287000"/>
              <a:gd name="connsiteX1706" fmla="*/ 2190100 w 9854218"/>
              <a:gd name="connsiteY1706" fmla="*/ 7852970 h 10287000"/>
              <a:gd name="connsiteX1707" fmla="*/ 2228060 w 9854218"/>
              <a:gd name="connsiteY1707" fmla="*/ 7928891 h 10287000"/>
              <a:gd name="connsiteX1708" fmla="*/ 2228060 w 9854218"/>
              <a:gd name="connsiteY1708" fmla="*/ 7954194 h 10287000"/>
              <a:gd name="connsiteX1709" fmla="*/ 2215406 w 9854218"/>
              <a:gd name="connsiteY1709" fmla="*/ 7941545 h 10287000"/>
              <a:gd name="connsiteX1710" fmla="*/ 2202750 w 9854218"/>
              <a:gd name="connsiteY1710" fmla="*/ 7928891 h 10287000"/>
              <a:gd name="connsiteX1711" fmla="*/ 2215406 w 9854218"/>
              <a:gd name="connsiteY1711" fmla="*/ 7954197 h 10287000"/>
              <a:gd name="connsiteX1712" fmla="*/ 2215406 w 9854218"/>
              <a:gd name="connsiteY1712" fmla="*/ 7992155 h 10287000"/>
              <a:gd name="connsiteX1713" fmla="*/ 2228060 w 9854218"/>
              <a:gd name="connsiteY1713" fmla="*/ 8004812 h 10287000"/>
              <a:gd name="connsiteX1714" fmla="*/ 2228060 w 9854218"/>
              <a:gd name="connsiteY1714" fmla="*/ 8030117 h 10287000"/>
              <a:gd name="connsiteX1715" fmla="*/ 2240711 w 9854218"/>
              <a:gd name="connsiteY1715" fmla="*/ 8030117 h 10287000"/>
              <a:gd name="connsiteX1716" fmla="*/ 2240714 w 9854218"/>
              <a:gd name="connsiteY1716" fmla="*/ 8017464 h 10287000"/>
              <a:gd name="connsiteX1717" fmla="*/ 2253366 w 9854218"/>
              <a:gd name="connsiteY1717" fmla="*/ 8042772 h 10287000"/>
              <a:gd name="connsiteX1718" fmla="*/ 2240714 w 9854218"/>
              <a:gd name="connsiteY1718" fmla="*/ 8042772 h 10287000"/>
              <a:gd name="connsiteX1719" fmla="*/ 2240714 w 9854218"/>
              <a:gd name="connsiteY1719" fmla="*/ 8055425 h 10287000"/>
              <a:gd name="connsiteX1720" fmla="*/ 2253370 w 9854218"/>
              <a:gd name="connsiteY1720" fmla="*/ 8068077 h 10287000"/>
              <a:gd name="connsiteX1721" fmla="*/ 2354597 w 9854218"/>
              <a:gd name="connsiteY1721" fmla="*/ 8232576 h 10287000"/>
              <a:gd name="connsiteX1722" fmla="*/ 2341944 w 9854218"/>
              <a:gd name="connsiteY1722" fmla="*/ 8283185 h 10287000"/>
              <a:gd name="connsiteX1723" fmla="*/ 2341943 w 9854218"/>
              <a:gd name="connsiteY1723" fmla="*/ 8245227 h 10287000"/>
              <a:gd name="connsiteX1724" fmla="*/ 2417861 w 9854218"/>
              <a:gd name="connsiteY1724" fmla="*/ 8397070 h 10287000"/>
              <a:gd name="connsiteX1725" fmla="*/ 2430518 w 9854218"/>
              <a:gd name="connsiteY1725" fmla="*/ 8397069 h 10287000"/>
              <a:gd name="connsiteX1726" fmla="*/ 2544400 w 9854218"/>
              <a:gd name="connsiteY1726" fmla="*/ 8624834 h 10287000"/>
              <a:gd name="connsiteX1727" fmla="*/ 2696243 w 9854218"/>
              <a:gd name="connsiteY1727" fmla="*/ 8903206 h 10287000"/>
              <a:gd name="connsiteX1728" fmla="*/ 2679262 w 9854218"/>
              <a:gd name="connsiteY1728" fmla="*/ 8912472 h 10287000"/>
              <a:gd name="connsiteX1729" fmla="*/ 2670938 w 9854218"/>
              <a:gd name="connsiteY1729" fmla="*/ 8903210 h 10287000"/>
              <a:gd name="connsiteX1730" fmla="*/ 2678846 w 9854218"/>
              <a:gd name="connsiteY1730" fmla="*/ 8912698 h 10287000"/>
              <a:gd name="connsiteX1731" fmla="*/ 2679262 w 9854218"/>
              <a:gd name="connsiteY1731" fmla="*/ 8912472 h 10287000"/>
              <a:gd name="connsiteX1732" fmla="*/ 2699010 w 9854218"/>
              <a:gd name="connsiteY1732" fmla="*/ 8934448 h 10287000"/>
              <a:gd name="connsiteX1733" fmla="*/ 2759512 w 9854218"/>
              <a:gd name="connsiteY1733" fmla="*/ 9080360 h 10287000"/>
              <a:gd name="connsiteX1734" fmla="*/ 2784818 w 9854218"/>
              <a:gd name="connsiteY1734" fmla="*/ 9105666 h 10287000"/>
              <a:gd name="connsiteX1735" fmla="*/ 2797472 w 9854218"/>
              <a:gd name="connsiteY1735" fmla="*/ 9105666 h 10287000"/>
              <a:gd name="connsiteX1736" fmla="*/ 2797474 w 9854218"/>
              <a:gd name="connsiteY1736" fmla="*/ 9130974 h 10287000"/>
              <a:gd name="connsiteX1737" fmla="*/ 2822778 w 9854218"/>
              <a:gd name="connsiteY1737" fmla="*/ 9156278 h 10287000"/>
              <a:gd name="connsiteX1738" fmla="*/ 2810126 w 9854218"/>
              <a:gd name="connsiteY1738" fmla="*/ 9156279 h 10287000"/>
              <a:gd name="connsiteX1739" fmla="*/ 2911354 w 9854218"/>
              <a:gd name="connsiteY1739" fmla="*/ 9308124 h 10287000"/>
              <a:gd name="connsiteX1740" fmla="*/ 2949317 w 9854218"/>
              <a:gd name="connsiteY1740" fmla="*/ 9396696 h 10287000"/>
              <a:gd name="connsiteX1741" fmla="*/ 2974622 w 9854218"/>
              <a:gd name="connsiteY1741" fmla="*/ 9396696 h 10287000"/>
              <a:gd name="connsiteX1742" fmla="*/ 2974622 w 9854218"/>
              <a:gd name="connsiteY1742" fmla="*/ 9422004 h 10287000"/>
              <a:gd name="connsiteX1743" fmla="*/ 2999928 w 9854218"/>
              <a:gd name="connsiteY1743" fmla="*/ 9459962 h 10287000"/>
              <a:gd name="connsiteX1744" fmla="*/ 3012582 w 9854218"/>
              <a:gd name="connsiteY1744" fmla="*/ 9472618 h 10287000"/>
              <a:gd name="connsiteX1745" fmla="*/ 3012584 w 9854218"/>
              <a:gd name="connsiteY1745" fmla="*/ 9485268 h 10287000"/>
              <a:gd name="connsiteX1746" fmla="*/ 3025238 w 9854218"/>
              <a:gd name="connsiteY1746" fmla="*/ 9497925 h 10287000"/>
              <a:gd name="connsiteX1747" fmla="*/ 3025235 w 9854218"/>
              <a:gd name="connsiteY1747" fmla="*/ 9485271 h 10287000"/>
              <a:gd name="connsiteX1748" fmla="*/ 3037894 w 9854218"/>
              <a:gd name="connsiteY1748" fmla="*/ 9485271 h 10287000"/>
              <a:gd name="connsiteX1749" fmla="*/ 3063194 w 9854218"/>
              <a:gd name="connsiteY1749" fmla="*/ 9535886 h 10287000"/>
              <a:gd name="connsiteX1750" fmla="*/ 3063197 w 9854218"/>
              <a:gd name="connsiteY1750" fmla="*/ 9510576 h 10287000"/>
              <a:gd name="connsiteX1751" fmla="*/ 3037892 w 9854218"/>
              <a:gd name="connsiteY1751" fmla="*/ 9472620 h 10287000"/>
              <a:gd name="connsiteX1752" fmla="*/ 3025238 w 9854218"/>
              <a:gd name="connsiteY1752" fmla="*/ 9459964 h 10287000"/>
              <a:gd name="connsiteX1753" fmla="*/ 3025236 w 9854218"/>
              <a:gd name="connsiteY1753" fmla="*/ 9447310 h 10287000"/>
              <a:gd name="connsiteX1754" fmla="*/ 3012584 w 9854218"/>
              <a:gd name="connsiteY1754" fmla="*/ 9447308 h 10287000"/>
              <a:gd name="connsiteX1755" fmla="*/ 3012582 w 9854218"/>
              <a:gd name="connsiteY1755" fmla="*/ 9434656 h 10287000"/>
              <a:gd name="connsiteX1756" fmla="*/ 2873393 w 9854218"/>
              <a:gd name="connsiteY1756" fmla="*/ 9219549 h 10287000"/>
              <a:gd name="connsiteX1757" fmla="*/ 2746858 w 9854218"/>
              <a:gd name="connsiteY1757" fmla="*/ 8991784 h 10287000"/>
              <a:gd name="connsiteX1758" fmla="*/ 2759512 w 9854218"/>
              <a:gd name="connsiteY1758" fmla="*/ 8991784 h 10287000"/>
              <a:gd name="connsiteX1759" fmla="*/ 2772164 w 9854218"/>
              <a:gd name="connsiteY1759" fmla="*/ 9004438 h 10287000"/>
              <a:gd name="connsiteX1760" fmla="*/ 2772166 w 9854218"/>
              <a:gd name="connsiteY1760" fmla="*/ 8991782 h 10287000"/>
              <a:gd name="connsiteX1761" fmla="*/ 2734200 w 9854218"/>
              <a:gd name="connsiteY1761" fmla="*/ 8915860 h 10287000"/>
              <a:gd name="connsiteX1762" fmla="*/ 2734204 w 9854218"/>
              <a:gd name="connsiteY1762" fmla="*/ 8903210 h 10287000"/>
              <a:gd name="connsiteX1763" fmla="*/ 2721550 w 9854218"/>
              <a:gd name="connsiteY1763" fmla="*/ 8890558 h 10287000"/>
              <a:gd name="connsiteX1764" fmla="*/ 2721552 w 9854218"/>
              <a:gd name="connsiteY1764" fmla="*/ 8877904 h 10287000"/>
              <a:gd name="connsiteX1765" fmla="*/ 2746858 w 9854218"/>
              <a:gd name="connsiteY1765" fmla="*/ 8890558 h 10287000"/>
              <a:gd name="connsiteX1766" fmla="*/ 2746858 w 9854218"/>
              <a:gd name="connsiteY1766" fmla="*/ 8865246 h 10287000"/>
              <a:gd name="connsiteX1767" fmla="*/ 2759512 w 9854218"/>
              <a:gd name="connsiteY1767" fmla="*/ 8890556 h 10287000"/>
              <a:gd name="connsiteX1768" fmla="*/ 2708897 w 9854218"/>
              <a:gd name="connsiteY1768" fmla="*/ 8776674 h 10287000"/>
              <a:gd name="connsiteX1769" fmla="*/ 2708898 w 9854218"/>
              <a:gd name="connsiteY1769" fmla="*/ 8772040 h 10287000"/>
              <a:gd name="connsiteX1770" fmla="*/ 2698295 w 9854218"/>
              <a:gd name="connsiteY1770" fmla="*/ 8751880 h 10287000"/>
              <a:gd name="connsiteX1771" fmla="*/ 2696243 w 9854218"/>
              <a:gd name="connsiteY1771" fmla="*/ 8751368 h 10287000"/>
              <a:gd name="connsiteX1772" fmla="*/ 2695566 w 9854218"/>
              <a:gd name="connsiteY1772" fmla="*/ 8746690 h 10287000"/>
              <a:gd name="connsiteX1773" fmla="*/ 2671432 w 9854218"/>
              <a:gd name="connsiteY1773" fmla="*/ 8700795 h 10287000"/>
              <a:gd name="connsiteX1774" fmla="*/ 2670936 w 9854218"/>
              <a:gd name="connsiteY1774" fmla="*/ 8700753 h 10287000"/>
              <a:gd name="connsiteX1775" fmla="*/ 2663276 w 9854218"/>
              <a:gd name="connsiteY1775" fmla="*/ 8686708 h 10287000"/>
              <a:gd name="connsiteX1776" fmla="*/ 2658886 w 9854218"/>
              <a:gd name="connsiteY1776" fmla="*/ 8696884 h 10287000"/>
              <a:gd name="connsiteX1777" fmla="*/ 2654159 w 9854218"/>
              <a:gd name="connsiteY1777" fmla="*/ 8707842 h 10287000"/>
              <a:gd name="connsiteX1778" fmla="*/ 2584451 w 9854218"/>
              <a:gd name="connsiteY1778" fmla="*/ 8608449 h 10287000"/>
              <a:gd name="connsiteX1779" fmla="*/ 2524196 w 9854218"/>
              <a:gd name="connsiteY1779" fmla="*/ 8487142 h 10287000"/>
              <a:gd name="connsiteX1780" fmla="*/ 2494148 w 9854218"/>
              <a:gd name="connsiteY1780" fmla="*/ 8396198 h 10287000"/>
              <a:gd name="connsiteX1781" fmla="*/ 2476394 w 9854218"/>
              <a:gd name="connsiteY1781" fmla="*/ 8397201 h 10287000"/>
              <a:gd name="connsiteX1782" fmla="*/ 2395548 w 9854218"/>
              <a:gd name="connsiteY1782" fmla="*/ 8163036 h 10287000"/>
              <a:gd name="connsiteX1783" fmla="*/ 2308400 w 9854218"/>
              <a:gd name="connsiteY1783" fmla="*/ 7943480 h 10287000"/>
              <a:gd name="connsiteX1784" fmla="*/ 2301098 w 9854218"/>
              <a:gd name="connsiteY1784" fmla="*/ 7940328 h 10287000"/>
              <a:gd name="connsiteX1785" fmla="*/ 2304250 w 9854218"/>
              <a:gd name="connsiteY1785" fmla="*/ 7933025 h 10287000"/>
              <a:gd name="connsiteX1786" fmla="*/ 2295948 w 9854218"/>
              <a:gd name="connsiteY1786" fmla="*/ 7912115 h 10287000"/>
              <a:gd name="connsiteX1787" fmla="*/ 2303249 w 9854218"/>
              <a:gd name="connsiteY1787" fmla="*/ 7915265 h 10287000"/>
              <a:gd name="connsiteX1788" fmla="*/ 2305222 w 9854218"/>
              <a:gd name="connsiteY1788" fmla="*/ 7916473 h 10287000"/>
              <a:gd name="connsiteX1789" fmla="*/ 2307401 w 9854218"/>
              <a:gd name="connsiteY1789" fmla="*/ 7925720 h 10287000"/>
              <a:gd name="connsiteX1790" fmla="*/ 2309245 w 9854218"/>
              <a:gd name="connsiteY1790" fmla="*/ 7918935 h 10287000"/>
              <a:gd name="connsiteX1791" fmla="*/ 2305222 w 9854218"/>
              <a:gd name="connsiteY1791" fmla="*/ 7916473 h 10287000"/>
              <a:gd name="connsiteX1792" fmla="*/ 2297459 w 9854218"/>
              <a:gd name="connsiteY1792" fmla="*/ 7883523 h 10287000"/>
              <a:gd name="connsiteX1793" fmla="*/ 2296104 w 9854218"/>
              <a:gd name="connsiteY1793" fmla="*/ 7851531 h 10287000"/>
              <a:gd name="connsiteX1794" fmla="*/ 2410464 w 9854218"/>
              <a:gd name="connsiteY1794" fmla="*/ 8048171 h 10287000"/>
              <a:gd name="connsiteX1795" fmla="*/ 2381258 w 9854218"/>
              <a:gd name="connsiteY1795" fmla="*/ 8035568 h 10287000"/>
              <a:gd name="connsiteX1796" fmla="*/ 2510906 w 9854218"/>
              <a:gd name="connsiteY1796" fmla="*/ 8377434 h 10287000"/>
              <a:gd name="connsiteX1797" fmla="*/ 2535962 w 9854218"/>
              <a:gd name="connsiteY1797" fmla="*/ 8379581 h 10287000"/>
              <a:gd name="connsiteX1798" fmla="*/ 2588914 w 9854218"/>
              <a:gd name="connsiteY1798" fmla="*/ 8497738 h 10287000"/>
              <a:gd name="connsiteX1799" fmla="*/ 2659620 w 9854218"/>
              <a:gd name="connsiteY1799" fmla="*/ 8614888 h 10287000"/>
              <a:gd name="connsiteX1800" fmla="*/ 2664623 w 9854218"/>
              <a:gd name="connsiteY1800" fmla="*/ 8648457 h 10287000"/>
              <a:gd name="connsiteX1801" fmla="*/ 2666112 w 9854218"/>
              <a:gd name="connsiteY1801" fmla="*/ 8659284 h 10287000"/>
              <a:gd name="connsiteX1802" fmla="*/ 2670938 w 9854218"/>
              <a:gd name="connsiteY1802" fmla="*/ 8662794 h 10287000"/>
              <a:gd name="connsiteX1803" fmla="*/ 2702213 w 9854218"/>
              <a:gd name="connsiteY1803" fmla="*/ 8709080 h 10287000"/>
              <a:gd name="connsiteX1804" fmla="*/ 2702321 w 9854218"/>
              <a:gd name="connsiteY1804" fmla="*/ 8709128 h 10287000"/>
              <a:gd name="connsiteX1805" fmla="*/ 2727173 w 9854218"/>
              <a:gd name="connsiteY1805" fmla="*/ 8739346 h 10287000"/>
              <a:gd name="connsiteX1806" fmla="*/ 2731750 w 9854218"/>
              <a:gd name="connsiteY1806" fmla="*/ 8752797 h 10287000"/>
              <a:gd name="connsiteX1807" fmla="*/ 2829106 w 9854218"/>
              <a:gd name="connsiteY1807" fmla="*/ 8896884 h 10287000"/>
              <a:gd name="connsiteX1808" fmla="*/ 2987276 w 9854218"/>
              <a:gd name="connsiteY1808" fmla="*/ 9093014 h 10287000"/>
              <a:gd name="connsiteX1809" fmla="*/ 2999928 w 9854218"/>
              <a:gd name="connsiteY1809" fmla="*/ 9105663 h 10287000"/>
              <a:gd name="connsiteX1810" fmla="*/ 3037892 w 9854218"/>
              <a:gd name="connsiteY1810" fmla="*/ 9156280 h 10287000"/>
              <a:gd name="connsiteX1811" fmla="*/ 3430151 w 9854218"/>
              <a:gd name="connsiteY1811" fmla="*/ 9561192 h 10287000"/>
              <a:gd name="connsiteX1812" fmla="*/ 3379538 w 9854218"/>
              <a:gd name="connsiteY1812" fmla="*/ 9497925 h 10287000"/>
              <a:gd name="connsiteX1813" fmla="*/ 3392189 w 9854218"/>
              <a:gd name="connsiteY1813" fmla="*/ 9497925 h 10287000"/>
              <a:gd name="connsiteX1814" fmla="*/ 3417497 w 9854218"/>
              <a:gd name="connsiteY1814" fmla="*/ 9510579 h 10287000"/>
              <a:gd name="connsiteX1815" fmla="*/ 3404846 w 9854218"/>
              <a:gd name="connsiteY1815" fmla="*/ 9485271 h 10287000"/>
              <a:gd name="connsiteX1816" fmla="*/ 3392190 w 9854218"/>
              <a:gd name="connsiteY1816" fmla="*/ 9472617 h 10287000"/>
              <a:gd name="connsiteX1817" fmla="*/ 3430151 w 9854218"/>
              <a:gd name="connsiteY1817" fmla="*/ 9485271 h 10287000"/>
              <a:gd name="connsiteX1818" fmla="*/ 3430150 w 9854218"/>
              <a:gd name="connsiteY1818" fmla="*/ 9497925 h 10287000"/>
              <a:gd name="connsiteX1819" fmla="*/ 3430152 w 9854218"/>
              <a:gd name="connsiteY1819" fmla="*/ 9510579 h 10287000"/>
              <a:gd name="connsiteX1820" fmla="*/ 3442805 w 9854218"/>
              <a:gd name="connsiteY1820" fmla="*/ 9510579 h 10287000"/>
              <a:gd name="connsiteX1821" fmla="*/ 3487091 w 9854218"/>
              <a:gd name="connsiteY1821" fmla="*/ 9562774 h 10287000"/>
              <a:gd name="connsiteX1822" fmla="*/ 3531150 w 9854218"/>
              <a:gd name="connsiteY1822" fmla="*/ 9586378 h 10287000"/>
              <a:gd name="connsiteX1823" fmla="*/ 3531419 w 9854218"/>
              <a:gd name="connsiteY1823" fmla="*/ 9586632 h 10287000"/>
              <a:gd name="connsiteX1824" fmla="*/ 3542453 w 9854218"/>
              <a:gd name="connsiteY1824" fmla="*/ 9624460 h 10287000"/>
              <a:gd name="connsiteX1825" fmla="*/ 3568812 w 9854218"/>
              <a:gd name="connsiteY1825" fmla="*/ 9649767 h 10287000"/>
              <a:gd name="connsiteX1826" fmla="*/ 3544032 w 9854218"/>
              <a:gd name="connsiteY1826" fmla="*/ 9649767 h 10287000"/>
              <a:gd name="connsiteX1827" fmla="*/ 3556686 w 9854218"/>
              <a:gd name="connsiteY1827" fmla="*/ 9675075 h 10287000"/>
              <a:gd name="connsiteX1828" fmla="*/ 3569339 w 9854218"/>
              <a:gd name="connsiteY1828" fmla="*/ 9687726 h 10287000"/>
              <a:gd name="connsiteX1829" fmla="*/ 3657916 w 9854218"/>
              <a:gd name="connsiteY1829" fmla="*/ 9788956 h 10287000"/>
              <a:gd name="connsiteX1830" fmla="*/ 3657914 w 9854218"/>
              <a:gd name="connsiteY1830" fmla="*/ 9801610 h 10287000"/>
              <a:gd name="connsiteX1831" fmla="*/ 3670571 w 9854218"/>
              <a:gd name="connsiteY1831" fmla="*/ 9814262 h 10287000"/>
              <a:gd name="connsiteX1832" fmla="*/ 3683225 w 9854218"/>
              <a:gd name="connsiteY1832" fmla="*/ 9814262 h 10287000"/>
              <a:gd name="connsiteX1833" fmla="*/ 3708532 w 9854218"/>
              <a:gd name="connsiteY1833" fmla="*/ 9826916 h 10287000"/>
              <a:gd name="connsiteX1834" fmla="*/ 3948950 w 9854218"/>
              <a:gd name="connsiteY1834" fmla="*/ 10042026 h 10287000"/>
              <a:gd name="connsiteX1835" fmla="*/ 3961601 w 9854218"/>
              <a:gd name="connsiteY1835" fmla="*/ 10042026 h 10287000"/>
              <a:gd name="connsiteX1836" fmla="*/ 3961601 w 9854218"/>
              <a:gd name="connsiteY1836" fmla="*/ 10054677 h 10287000"/>
              <a:gd name="connsiteX1837" fmla="*/ 3974255 w 9854218"/>
              <a:gd name="connsiteY1837" fmla="*/ 10067332 h 10287000"/>
              <a:gd name="connsiteX1838" fmla="*/ 3986910 w 9854218"/>
              <a:gd name="connsiteY1838" fmla="*/ 10067332 h 10287000"/>
              <a:gd name="connsiteX1839" fmla="*/ 4050180 w 9854218"/>
              <a:gd name="connsiteY1839" fmla="*/ 10117947 h 10287000"/>
              <a:gd name="connsiteX1840" fmla="*/ 4202020 w 9854218"/>
              <a:gd name="connsiteY1840" fmla="*/ 10231826 h 10287000"/>
              <a:gd name="connsiteX1841" fmla="*/ 4252636 w 9854218"/>
              <a:gd name="connsiteY1841" fmla="*/ 10269788 h 10287000"/>
              <a:gd name="connsiteX1842" fmla="*/ 4273434 w 9854218"/>
              <a:gd name="connsiteY1842" fmla="*/ 10287000 h 10287000"/>
              <a:gd name="connsiteX1843" fmla="*/ 4192550 w 9854218"/>
              <a:gd name="connsiteY1843" fmla="*/ 10287000 h 10287000"/>
              <a:gd name="connsiteX1844" fmla="*/ 4138751 w 9854218"/>
              <a:gd name="connsiteY1844" fmla="*/ 10244482 h 10287000"/>
              <a:gd name="connsiteX1845" fmla="*/ 3822414 w 9854218"/>
              <a:gd name="connsiteY1845" fmla="*/ 9991412 h 10287000"/>
              <a:gd name="connsiteX1846" fmla="*/ 3784452 w 9854218"/>
              <a:gd name="connsiteY1846" fmla="*/ 9978758 h 10287000"/>
              <a:gd name="connsiteX1847" fmla="*/ 3645262 w 9854218"/>
              <a:gd name="connsiteY1847" fmla="*/ 9864876 h 10287000"/>
              <a:gd name="connsiteX1848" fmla="*/ 4100792 w 9854218"/>
              <a:gd name="connsiteY1848" fmla="*/ 10257134 h 10287000"/>
              <a:gd name="connsiteX1849" fmla="*/ 4139230 w 9854218"/>
              <a:gd name="connsiteY1849" fmla="*/ 10287000 h 10287000"/>
              <a:gd name="connsiteX1850" fmla="*/ 4042092 w 9854218"/>
              <a:gd name="connsiteY1850" fmla="*/ 10287000 h 10287000"/>
              <a:gd name="connsiteX1851" fmla="*/ 3979991 w 9854218"/>
              <a:gd name="connsiteY1851" fmla="*/ 10235188 h 10287000"/>
              <a:gd name="connsiteX1852" fmla="*/ 3885682 w 9854218"/>
              <a:gd name="connsiteY1852" fmla="*/ 10143254 h 10287000"/>
              <a:gd name="connsiteX1853" fmla="*/ 3771802 w 9854218"/>
              <a:gd name="connsiteY1853" fmla="*/ 10029369 h 10287000"/>
              <a:gd name="connsiteX1854" fmla="*/ 3657916 w 9854218"/>
              <a:gd name="connsiteY1854" fmla="*/ 9902836 h 10287000"/>
              <a:gd name="connsiteX1855" fmla="*/ 3594650 w 9854218"/>
              <a:gd name="connsiteY1855" fmla="*/ 9852222 h 10287000"/>
              <a:gd name="connsiteX1856" fmla="*/ 3569340 w 9854218"/>
              <a:gd name="connsiteY1856" fmla="*/ 9814263 h 10287000"/>
              <a:gd name="connsiteX1857" fmla="*/ 3493422 w 9854218"/>
              <a:gd name="connsiteY1857" fmla="*/ 9738340 h 10287000"/>
              <a:gd name="connsiteX1858" fmla="*/ 3303617 w 9854218"/>
              <a:gd name="connsiteY1858" fmla="*/ 9535884 h 10287000"/>
              <a:gd name="connsiteX1859" fmla="*/ 3278308 w 9854218"/>
              <a:gd name="connsiteY1859" fmla="*/ 9535886 h 10287000"/>
              <a:gd name="connsiteX1860" fmla="*/ 3101159 w 9854218"/>
              <a:gd name="connsiteY1860" fmla="*/ 9282814 h 10287000"/>
              <a:gd name="connsiteX1861" fmla="*/ 2924009 w 9854218"/>
              <a:gd name="connsiteY1861" fmla="*/ 9055050 h 10287000"/>
              <a:gd name="connsiteX1862" fmla="*/ 2949317 w 9854218"/>
              <a:gd name="connsiteY1862" fmla="*/ 9093010 h 10287000"/>
              <a:gd name="connsiteX1863" fmla="*/ 2916180 w 9854218"/>
              <a:gd name="connsiteY1863" fmla="*/ 9059880 h 10287000"/>
              <a:gd name="connsiteX1864" fmla="*/ 2916390 w 9854218"/>
              <a:gd name="connsiteY1864" fmla="*/ 9063592 h 10287000"/>
              <a:gd name="connsiteX1865" fmla="*/ 2897638 w 9854218"/>
              <a:gd name="connsiteY1865" fmla="*/ 9046838 h 10287000"/>
              <a:gd name="connsiteX1866" fmla="*/ 2868431 w 9854218"/>
              <a:gd name="connsiteY1866" fmla="*/ 9034234 h 10287000"/>
              <a:gd name="connsiteX1867" fmla="*/ 2866349 w 9854218"/>
              <a:gd name="connsiteY1867" fmla="*/ 9036910 h 10287000"/>
              <a:gd name="connsiteX1868" fmla="*/ 2886048 w 9854218"/>
              <a:gd name="connsiteY1868" fmla="*/ 9074034 h 10287000"/>
              <a:gd name="connsiteX1869" fmla="*/ 2936662 w 9854218"/>
              <a:gd name="connsiteY1869" fmla="*/ 9156279 h 10287000"/>
              <a:gd name="connsiteX1870" fmla="*/ 2924008 w 9854218"/>
              <a:gd name="connsiteY1870" fmla="*/ 9156278 h 10287000"/>
              <a:gd name="connsiteX1871" fmla="*/ 2924009 w 9854218"/>
              <a:gd name="connsiteY1871" fmla="*/ 9168934 h 10287000"/>
              <a:gd name="connsiteX1872" fmla="*/ 2949317 w 9854218"/>
              <a:gd name="connsiteY1872" fmla="*/ 9194240 h 10287000"/>
              <a:gd name="connsiteX1873" fmla="*/ 2974624 w 9854218"/>
              <a:gd name="connsiteY1873" fmla="*/ 9257506 h 10287000"/>
              <a:gd name="connsiteX1874" fmla="*/ 2987276 w 9854218"/>
              <a:gd name="connsiteY1874" fmla="*/ 9257510 h 10287000"/>
              <a:gd name="connsiteX1875" fmla="*/ 3012584 w 9854218"/>
              <a:gd name="connsiteY1875" fmla="*/ 9270158 h 10287000"/>
              <a:gd name="connsiteX1876" fmla="*/ 3019736 w 9854218"/>
              <a:gd name="connsiteY1876" fmla="*/ 9268968 h 10287000"/>
              <a:gd name="connsiteX1877" fmla="*/ 3063198 w 9854218"/>
              <a:gd name="connsiteY1877" fmla="*/ 9338571 h 10287000"/>
              <a:gd name="connsiteX1878" fmla="*/ 3177082 w 9854218"/>
              <a:gd name="connsiteY1878" fmla="*/ 9548540 h 10287000"/>
              <a:gd name="connsiteX1879" fmla="*/ 3328922 w 9854218"/>
              <a:gd name="connsiteY1879" fmla="*/ 9826916 h 10287000"/>
              <a:gd name="connsiteX1880" fmla="*/ 3354232 w 9854218"/>
              <a:gd name="connsiteY1880" fmla="*/ 9788956 h 10287000"/>
              <a:gd name="connsiteX1881" fmla="*/ 3619955 w 9854218"/>
              <a:gd name="connsiteY1881" fmla="*/ 10181214 h 10287000"/>
              <a:gd name="connsiteX1882" fmla="*/ 3700596 w 9854218"/>
              <a:gd name="connsiteY1882" fmla="*/ 10287000 h 10287000"/>
              <a:gd name="connsiteX1883" fmla="*/ 3149945 w 9854218"/>
              <a:gd name="connsiteY1883" fmla="*/ 10287000 h 10287000"/>
              <a:gd name="connsiteX1884" fmla="*/ 2970956 w 9854218"/>
              <a:gd name="connsiteY1884" fmla="*/ 10113828 h 10287000"/>
              <a:gd name="connsiteX1885" fmla="*/ 1838543 w 9854218"/>
              <a:gd name="connsiteY1885" fmla="*/ 8560522 h 10287000"/>
              <a:gd name="connsiteX1886" fmla="*/ 1724466 w 9854218"/>
              <a:gd name="connsiteY1886" fmla="*/ 8334921 h 10287000"/>
              <a:gd name="connsiteX1887" fmla="*/ 1746474 w 9854218"/>
              <a:gd name="connsiteY1887" fmla="*/ 8411187 h 10287000"/>
              <a:gd name="connsiteX1888" fmla="*/ 1814813 w 9854218"/>
              <a:gd name="connsiteY1888" fmla="*/ 8585349 h 10287000"/>
              <a:gd name="connsiteX1889" fmla="*/ 1839782 w 9854218"/>
              <a:gd name="connsiteY1889" fmla="*/ 8588348 h 10287000"/>
              <a:gd name="connsiteX1890" fmla="*/ 1888685 w 9854218"/>
              <a:gd name="connsiteY1890" fmla="*/ 8708235 h 10287000"/>
              <a:gd name="connsiteX1891" fmla="*/ 1955369 w 9854218"/>
              <a:gd name="connsiteY1891" fmla="*/ 8827724 h 10287000"/>
              <a:gd name="connsiteX1892" fmla="*/ 1971324 w 9854218"/>
              <a:gd name="connsiteY1892" fmla="*/ 8905650 h 10287000"/>
              <a:gd name="connsiteX1893" fmla="*/ 2018652 w 9854218"/>
              <a:gd name="connsiteY1893" fmla="*/ 8954406 h 10287000"/>
              <a:gd name="connsiteX1894" fmla="*/ 2111486 w 9854218"/>
              <a:gd name="connsiteY1894" fmla="*/ 9130240 h 10287000"/>
              <a:gd name="connsiteX1895" fmla="*/ 2170978 w 9854218"/>
              <a:gd name="connsiteY1895" fmla="*/ 9246333 h 10287000"/>
              <a:gd name="connsiteX1896" fmla="*/ 2167184 w 9854218"/>
              <a:gd name="connsiteY1896" fmla="*/ 9235743 h 10287000"/>
              <a:gd name="connsiteX1897" fmla="*/ 2166791 w 9854218"/>
              <a:gd name="connsiteY1897" fmla="*/ 9217959 h 10287000"/>
              <a:gd name="connsiteX1898" fmla="*/ 2177772 w 9854218"/>
              <a:gd name="connsiteY1898" fmla="*/ 9231946 h 10287000"/>
              <a:gd name="connsiteX1899" fmla="*/ 2188362 w 9854218"/>
              <a:gd name="connsiteY1899" fmla="*/ 9228152 h 10287000"/>
              <a:gd name="connsiteX1900" fmla="*/ 2192548 w 9854218"/>
              <a:gd name="connsiteY1900" fmla="*/ 9256526 h 10287000"/>
              <a:gd name="connsiteX1901" fmla="*/ 2196340 w 9854218"/>
              <a:gd name="connsiteY1901" fmla="*/ 9267114 h 10287000"/>
              <a:gd name="connsiteX1902" fmla="*/ 2196734 w 9854218"/>
              <a:gd name="connsiteY1902" fmla="*/ 9284898 h 10287000"/>
              <a:gd name="connsiteX1903" fmla="*/ 2178560 w 9854218"/>
              <a:gd name="connsiteY1903" fmla="*/ 9267513 h 10287000"/>
              <a:gd name="connsiteX1904" fmla="*/ 2153986 w 9854218"/>
              <a:gd name="connsiteY1904" fmla="*/ 9282300 h 10287000"/>
              <a:gd name="connsiteX1905" fmla="*/ 2046378 w 9854218"/>
              <a:gd name="connsiteY1905" fmla="*/ 9081886 h 10287000"/>
              <a:gd name="connsiteX1906" fmla="*/ 1956944 w 9854218"/>
              <a:gd name="connsiteY1906" fmla="*/ 8898856 h 10287000"/>
              <a:gd name="connsiteX1907" fmla="*/ 1946748 w 9854218"/>
              <a:gd name="connsiteY1907" fmla="*/ 8920437 h 10287000"/>
              <a:gd name="connsiteX1908" fmla="*/ 1880460 w 9854218"/>
              <a:gd name="connsiteY1908" fmla="*/ 8818731 h 10287000"/>
              <a:gd name="connsiteX1909" fmla="*/ 1824366 w 9854218"/>
              <a:gd name="connsiteY1909" fmla="*/ 8695446 h 10287000"/>
              <a:gd name="connsiteX1910" fmla="*/ 1797428 w 9854218"/>
              <a:gd name="connsiteY1910" fmla="*/ 8603534 h 10287000"/>
              <a:gd name="connsiteX1911" fmla="*/ 1779650 w 9854218"/>
              <a:gd name="connsiteY1911" fmla="*/ 8603931 h 10287000"/>
              <a:gd name="connsiteX1912" fmla="*/ 1706812 w 9854218"/>
              <a:gd name="connsiteY1912" fmla="*/ 8367155 h 10287000"/>
              <a:gd name="connsiteX1913" fmla="*/ 1627178 w 9854218"/>
              <a:gd name="connsiteY1913" fmla="*/ 8144760 h 10287000"/>
              <a:gd name="connsiteX1914" fmla="*/ 1619988 w 9854218"/>
              <a:gd name="connsiteY1914" fmla="*/ 8141364 h 10287000"/>
              <a:gd name="connsiteX1915" fmla="*/ 1623386 w 9854218"/>
              <a:gd name="connsiteY1915" fmla="*/ 8134170 h 10287000"/>
              <a:gd name="connsiteX1916" fmla="*/ 1616897 w 9854218"/>
              <a:gd name="connsiteY1916" fmla="*/ 8122308 h 10287000"/>
              <a:gd name="connsiteX1917" fmla="*/ 1616332 w 9854218"/>
              <a:gd name="connsiteY1917" fmla="*/ 8117499 h 10287000"/>
              <a:gd name="connsiteX1918" fmla="*/ 1440302 w 9854218"/>
              <a:gd name="connsiteY1918" fmla="*/ 7705850 h 10287000"/>
              <a:gd name="connsiteX1919" fmla="*/ 1051280 w 9854218"/>
              <a:gd name="connsiteY1919" fmla="*/ 6321893 h 10287000"/>
              <a:gd name="connsiteX1920" fmla="*/ 1038625 w 9854218"/>
              <a:gd name="connsiteY1920" fmla="*/ 6258624 h 10287000"/>
              <a:gd name="connsiteX1921" fmla="*/ 989593 w 9854218"/>
              <a:gd name="connsiteY1921" fmla="*/ 5935962 h 10287000"/>
              <a:gd name="connsiteX1922" fmla="*/ 958919 w 9854218"/>
              <a:gd name="connsiteY1922" fmla="*/ 5685665 h 10287000"/>
              <a:gd name="connsiteX1923" fmla="*/ 957805 w 9854218"/>
              <a:gd name="connsiteY1923" fmla="*/ 5679020 h 10287000"/>
              <a:gd name="connsiteX1924" fmla="*/ 957656 w 9854218"/>
              <a:gd name="connsiteY1924" fmla="*/ 5675358 h 10287000"/>
              <a:gd name="connsiteX1925" fmla="*/ 950050 w 9854218"/>
              <a:gd name="connsiteY1925" fmla="*/ 5613296 h 10287000"/>
              <a:gd name="connsiteX1926" fmla="*/ 955616 w 9854218"/>
              <a:gd name="connsiteY1926" fmla="*/ 5625239 h 10287000"/>
              <a:gd name="connsiteX1927" fmla="*/ 954181 w 9854218"/>
              <a:gd name="connsiteY1927" fmla="*/ 5589986 h 10287000"/>
              <a:gd name="connsiteX1928" fmla="*/ 941941 w 9854218"/>
              <a:gd name="connsiteY1928" fmla="*/ 5416520 h 10287000"/>
              <a:gd name="connsiteX1929" fmla="*/ 926971 w 9854218"/>
              <a:gd name="connsiteY1929" fmla="*/ 5430338 h 10287000"/>
              <a:gd name="connsiteX1930" fmla="*/ 907037 w 9854218"/>
              <a:gd name="connsiteY1930" fmla="*/ 5328639 h 10287000"/>
              <a:gd name="connsiteX1931" fmla="*/ 902077 w 9854218"/>
              <a:gd name="connsiteY1931" fmla="*/ 5213123 h 10287000"/>
              <a:gd name="connsiteX1932" fmla="*/ 910154 w 9854218"/>
              <a:gd name="connsiteY1932" fmla="*/ 5131760 h 10287000"/>
              <a:gd name="connsiteX1933" fmla="*/ 895957 w 9854218"/>
              <a:gd name="connsiteY1933" fmla="*/ 5126390 h 10287000"/>
              <a:gd name="connsiteX1934" fmla="*/ 914044 w 9854218"/>
              <a:gd name="connsiteY1934" fmla="*/ 4915692 h 10287000"/>
              <a:gd name="connsiteX1935" fmla="*/ 922153 w 9854218"/>
              <a:gd name="connsiteY1935" fmla="*/ 4714206 h 10287000"/>
              <a:gd name="connsiteX1936" fmla="*/ 917549 w 9854218"/>
              <a:gd name="connsiteY1936" fmla="*/ 4709220 h 10287000"/>
              <a:gd name="connsiteX1937" fmla="*/ 922538 w 9854218"/>
              <a:gd name="connsiteY1937" fmla="*/ 4704612 h 10287000"/>
              <a:gd name="connsiteX1938" fmla="*/ 923311 w 9854218"/>
              <a:gd name="connsiteY1938" fmla="*/ 4685424 h 10287000"/>
              <a:gd name="connsiteX1939" fmla="*/ 927916 w 9854218"/>
              <a:gd name="connsiteY1939" fmla="*/ 4690412 h 10287000"/>
              <a:gd name="connsiteX1940" fmla="*/ 927530 w 9854218"/>
              <a:gd name="connsiteY1940" fmla="*/ 4700007 h 10287000"/>
              <a:gd name="connsiteX1941" fmla="*/ 933338 w 9854218"/>
              <a:gd name="connsiteY1941" fmla="*/ 4669263 h 10287000"/>
              <a:gd name="connsiteX1942" fmla="*/ 946591 w 9854218"/>
              <a:gd name="connsiteY1942" fmla="*/ 4403777 h 10287000"/>
              <a:gd name="connsiteX1943" fmla="*/ 1747224 w 9854218"/>
              <a:gd name="connsiteY1943" fmla="*/ 1576832 h 10287000"/>
              <a:gd name="connsiteX1944" fmla="*/ 2805480 w 9854218"/>
              <a:gd name="connsiteY1944" fmla="*/ 94493 h 10287000"/>
              <a:gd name="connsiteX1945" fmla="*/ 1640016 w 9854218"/>
              <a:gd name="connsiteY1945" fmla="*/ 0 h 10287000"/>
              <a:gd name="connsiteX1946" fmla="*/ 1735528 w 9854218"/>
              <a:gd name="connsiteY1946" fmla="*/ 0 h 10287000"/>
              <a:gd name="connsiteX1947" fmla="*/ 1681926 w 9854218"/>
              <a:gd name="connsiteY1947" fmla="*/ 81093 h 10287000"/>
              <a:gd name="connsiteX1948" fmla="*/ 1551839 w 9854218"/>
              <a:gd name="connsiteY1948" fmla="*/ 267993 h 10287000"/>
              <a:gd name="connsiteX1949" fmla="*/ 1604135 w 9854218"/>
              <a:gd name="connsiteY1949" fmla="*/ 214406 h 10287000"/>
              <a:gd name="connsiteX1950" fmla="*/ 1604198 w 9854218"/>
              <a:gd name="connsiteY1950" fmla="*/ 219425 h 10287000"/>
              <a:gd name="connsiteX1951" fmla="*/ 1636301 w 9854218"/>
              <a:gd name="connsiteY1951" fmla="*/ 176219 h 10287000"/>
              <a:gd name="connsiteX1952" fmla="*/ 1783350 w 9854218"/>
              <a:gd name="connsiteY1952" fmla="*/ 0 h 10287000"/>
              <a:gd name="connsiteX1953" fmla="*/ 2826772 w 9854218"/>
              <a:gd name="connsiteY1953" fmla="*/ 0 h 10287000"/>
              <a:gd name="connsiteX1954" fmla="*/ 2746859 w 9854218"/>
              <a:gd name="connsiteY1954" fmla="*/ 83717 h 10287000"/>
              <a:gd name="connsiteX1955" fmla="*/ 2658284 w 9854218"/>
              <a:gd name="connsiteY1955" fmla="*/ 172292 h 10287000"/>
              <a:gd name="connsiteX1956" fmla="*/ 2519093 w 9854218"/>
              <a:gd name="connsiteY1956" fmla="*/ 349442 h 10287000"/>
              <a:gd name="connsiteX1957" fmla="*/ 2544401 w 9854218"/>
              <a:gd name="connsiteY1957" fmla="*/ 336788 h 10287000"/>
              <a:gd name="connsiteX1958" fmla="*/ 1747224 w 9854218"/>
              <a:gd name="connsiteY1958" fmla="*/ 1576832 h 10287000"/>
              <a:gd name="connsiteX1959" fmla="*/ 924742 w 9854218"/>
              <a:gd name="connsiteY1959" fmla="*/ 4082226 h 10287000"/>
              <a:gd name="connsiteX1960" fmla="*/ 848822 w 9854218"/>
              <a:gd name="connsiteY1960" fmla="*/ 4904699 h 10287000"/>
              <a:gd name="connsiteX1961" fmla="*/ 848822 w 9854218"/>
              <a:gd name="connsiteY1961" fmla="*/ 5259002 h 10287000"/>
              <a:gd name="connsiteX1962" fmla="*/ 836168 w 9854218"/>
              <a:gd name="connsiteY1962" fmla="*/ 5271650 h 10287000"/>
              <a:gd name="connsiteX1963" fmla="*/ 836167 w 9854218"/>
              <a:gd name="connsiteY1963" fmla="*/ 5309613 h 10287000"/>
              <a:gd name="connsiteX1964" fmla="*/ 848822 w 9854218"/>
              <a:gd name="connsiteY1964" fmla="*/ 5322267 h 10287000"/>
              <a:gd name="connsiteX1965" fmla="*/ 874127 w 9854218"/>
              <a:gd name="connsiteY1965" fmla="*/ 5803103 h 10287000"/>
              <a:gd name="connsiteX1966" fmla="*/ 2714376 w 9854218"/>
              <a:gd name="connsiteY1966" fmla="*/ 10074994 h 10287000"/>
              <a:gd name="connsiteX1967" fmla="*/ 2912543 w 9854218"/>
              <a:gd name="connsiteY1967" fmla="*/ 10287000 h 10287000"/>
              <a:gd name="connsiteX1968" fmla="*/ 2242091 w 9854218"/>
              <a:gd name="connsiteY1968" fmla="*/ 10287000 h 10287000"/>
              <a:gd name="connsiteX1969" fmla="*/ 2206586 w 9854218"/>
              <a:gd name="connsiteY1969" fmla="*/ 10246742 h 10287000"/>
              <a:gd name="connsiteX1970" fmla="*/ 2073134 w 9854218"/>
              <a:gd name="connsiteY1970" fmla="*/ 10110816 h 10287000"/>
              <a:gd name="connsiteX1971" fmla="*/ 2072944 w 9854218"/>
              <a:gd name="connsiteY1971" fmla="*/ 10110432 h 10287000"/>
              <a:gd name="connsiteX1972" fmla="*/ 2062562 w 9854218"/>
              <a:gd name="connsiteY1972" fmla="*/ 10100046 h 10287000"/>
              <a:gd name="connsiteX1973" fmla="*/ 2073134 w 9854218"/>
              <a:gd name="connsiteY1973" fmla="*/ 10110816 h 10287000"/>
              <a:gd name="connsiteX1974" fmla="*/ 2083324 w 9854218"/>
              <a:gd name="connsiteY1974" fmla="*/ 10131204 h 10287000"/>
              <a:gd name="connsiteX1975" fmla="*/ 2052182 w 9854218"/>
              <a:gd name="connsiteY1975" fmla="*/ 10110432 h 10287000"/>
              <a:gd name="connsiteX1976" fmla="*/ 2041802 w 9854218"/>
              <a:gd name="connsiteY1976" fmla="*/ 10100046 h 10287000"/>
              <a:gd name="connsiteX1977" fmla="*/ 2041802 w 9854218"/>
              <a:gd name="connsiteY1977" fmla="*/ 10110432 h 10287000"/>
              <a:gd name="connsiteX1978" fmla="*/ 2162470 w 9854218"/>
              <a:gd name="connsiteY1978" fmla="*/ 10248039 h 10287000"/>
              <a:gd name="connsiteX1979" fmla="*/ 2195141 w 9854218"/>
              <a:gd name="connsiteY1979" fmla="*/ 10287000 h 10287000"/>
              <a:gd name="connsiteX1980" fmla="*/ 2149260 w 9854218"/>
              <a:gd name="connsiteY1980" fmla="*/ 10287000 h 10287000"/>
              <a:gd name="connsiteX1981" fmla="*/ 2124520 w 9854218"/>
              <a:gd name="connsiteY1981" fmla="*/ 10248201 h 10287000"/>
              <a:gd name="connsiteX1982" fmla="*/ 2093704 w 9854218"/>
              <a:gd name="connsiteY1982" fmla="*/ 10203902 h 10287000"/>
              <a:gd name="connsiteX1983" fmla="*/ 1740782 w 9854218"/>
              <a:gd name="connsiteY1983" fmla="*/ 9778100 h 10287000"/>
              <a:gd name="connsiteX1984" fmla="*/ 1720022 w 9854218"/>
              <a:gd name="connsiteY1984" fmla="*/ 9726174 h 10287000"/>
              <a:gd name="connsiteX1985" fmla="*/ 1595462 w 9854218"/>
              <a:gd name="connsiteY1985" fmla="*/ 9539236 h 10287000"/>
              <a:gd name="connsiteX1986" fmla="*/ 1564320 w 9854218"/>
              <a:gd name="connsiteY1986" fmla="*/ 9518468 h 10287000"/>
              <a:gd name="connsiteX1987" fmla="*/ 1512419 w 9854218"/>
              <a:gd name="connsiteY1987" fmla="*/ 9425000 h 10287000"/>
              <a:gd name="connsiteX1988" fmla="*/ 1512419 w 9854218"/>
              <a:gd name="connsiteY1988" fmla="*/ 9445772 h 10287000"/>
              <a:gd name="connsiteX1989" fmla="*/ 1496198 w 9854218"/>
              <a:gd name="connsiteY1989" fmla="*/ 9418281 h 10287000"/>
              <a:gd name="connsiteX1990" fmla="*/ 1485197 w 9854218"/>
              <a:gd name="connsiteY1990" fmla="*/ 9418202 h 10287000"/>
              <a:gd name="connsiteX1991" fmla="*/ 1469904 w 9854218"/>
              <a:gd name="connsiteY1991" fmla="*/ 9414448 h 10287000"/>
              <a:gd name="connsiteX1992" fmla="*/ 1457402 w 9854218"/>
              <a:gd name="connsiteY1992" fmla="*/ 9430466 h 10287000"/>
              <a:gd name="connsiteX1993" fmla="*/ 1583290 w 9854218"/>
              <a:gd name="connsiteY1993" fmla="*/ 9593630 h 10287000"/>
              <a:gd name="connsiteX1994" fmla="*/ 1713180 w 9854218"/>
              <a:gd name="connsiteY1994" fmla="*/ 9789388 h 10287000"/>
              <a:gd name="connsiteX1995" fmla="*/ 1709069 w 9854218"/>
              <a:gd name="connsiteY1995" fmla="*/ 9809750 h 10287000"/>
              <a:gd name="connsiteX1996" fmla="*/ 1804538 w 9854218"/>
              <a:gd name="connsiteY1996" fmla="*/ 9913796 h 10287000"/>
              <a:gd name="connsiteX1997" fmla="*/ 1861366 w 9854218"/>
              <a:gd name="connsiteY1997" fmla="*/ 9999440 h 10287000"/>
              <a:gd name="connsiteX1998" fmla="*/ 2041901 w 9854218"/>
              <a:gd name="connsiteY1998" fmla="*/ 10193510 h 10287000"/>
              <a:gd name="connsiteX1999" fmla="*/ 2117966 w 9854218"/>
              <a:gd name="connsiteY1999" fmla="*/ 10287000 h 10287000"/>
              <a:gd name="connsiteX2000" fmla="*/ 2016236 w 9854218"/>
              <a:gd name="connsiteY2000" fmla="*/ 10287000 h 10287000"/>
              <a:gd name="connsiteX2001" fmla="*/ 1972859 w 9854218"/>
              <a:gd name="connsiteY2001" fmla="*/ 10233862 h 10287000"/>
              <a:gd name="connsiteX2002" fmla="*/ 1940588 w 9854218"/>
              <a:gd name="connsiteY2002" fmla="*/ 10210128 h 10287000"/>
              <a:gd name="connsiteX2003" fmla="*/ 1917792 w 9854218"/>
              <a:gd name="connsiteY2003" fmla="*/ 10186852 h 10287000"/>
              <a:gd name="connsiteX2004" fmla="*/ 1917737 w 9854218"/>
              <a:gd name="connsiteY2004" fmla="*/ 10185646 h 10287000"/>
              <a:gd name="connsiteX2005" fmla="*/ 1909860 w 9854218"/>
              <a:gd name="connsiteY2005" fmla="*/ 10178757 h 10287000"/>
              <a:gd name="connsiteX2006" fmla="*/ 1917792 w 9854218"/>
              <a:gd name="connsiteY2006" fmla="*/ 10186852 h 10287000"/>
              <a:gd name="connsiteX2007" fmla="*/ 1917978 w 9854218"/>
              <a:gd name="connsiteY2007" fmla="*/ 10190992 h 10287000"/>
              <a:gd name="connsiteX2008" fmla="*/ 1924584 w 9854218"/>
              <a:gd name="connsiteY2008" fmla="*/ 10197622 h 10287000"/>
              <a:gd name="connsiteX2009" fmla="*/ 1920834 w 9854218"/>
              <a:gd name="connsiteY2009" fmla="*/ 10199162 h 10287000"/>
              <a:gd name="connsiteX2010" fmla="*/ 1651610 w 9854218"/>
              <a:gd name="connsiteY2010" fmla="*/ 9866038 h 10287000"/>
              <a:gd name="connsiteX2011" fmla="*/ 1658088 w 9854218"/>
              <a:gd name="connsiteY2011" fmla="*/ 9852428 h 10287000"/>
              <a:gd name="connsiteX2012" fmla="*/ 1467258 w 9854218"/>
              <a:gd name="connsiteY2012" fmla="*/ 9591382 h 10287000"/>
              <a:gd name="connsiteX2013" fmla="*/ 1430779 w 9854218"/>
              <a:gd name="connsiteY2013" fmla="*/ 9509848 h 10287000"/>
              <a:gd name="connsiteX2014" fmla="*/ 1197406 w 9854218"/>
              <a:gd name="connsiteY2014" fmla="*/ 9144856 h 10287000"/>
              <a:gd name="connsiteX2015" fmla="*/ 1094453 w 9854218"/>
              <a:gd name="connsiteY2015" fmla="*/ 8966456 h 10287000"/>
              <a:gd name="connsiteX2016" fmla="*/ 990553 w 9854218"/>
              <a:gd name="connsiteY2016" fmla="*/ 8806798 h 10287000"/>
              <a:gd name="connsiteX2017" fmla="*/ 990442 w 9854218"/>
              <a:gd name="connsiteY2017" fmla="*/ 8806383 h 10287000"/>
              <a:gd name="connsiteX2018" fmla="*/ 982324 w 9854218"/>
              <a:gd name="connsiteY2018" fmla="*/ 8794148 h 10287000"/>
              <a:gd name="connsiteX2019" fmla="*/ 990553 w 9854218"/>
              <a:gd name="connsiteY2019" fmla="*/ 8806798 h 10287000"/>
              <a:gd name="connsiteX2020" fmla="*/ 996503 w 9854218"/>
              <a:gd name="connsiteY2020" fmla="*/ 8828799 h 10287000"/>
              <a:gd name="connsiteX2021" fmla="*/ 970094 w 9854218"/>
              <a:gd name="connsiteY2021" fmla="*/ 8802273 h 10287000"/>
              <a:gd name="connsiteX2022" fmla="*/ 961973 w 9854218"/>
              <a:gd name="connsiteY2022" fmla="*/ 8790038 h 10287000"/>
              <a:gd name="connsiteX2023" fmla="*/ 959918 w 9854218"/>
              <a:gd name="connsiteY2023" fmla="*/ 8800218 h 10287000"/>
              <a:gd name="connsiteX2024" fmla="*/ 1146532 w 9854218"/>
              <a:gd name="connsiteY2024" fmla="*/ 9134578 h 10287000"/>
              <a:gd name="connsiteX2025" fmla="*/ 1113953 w 9854218"/>
              <a:gd name="connsiteY2025" fmla="*/ 9138590 h 10287000"/>
              <a:gd name="connsiteX2026" fmla="*/ 1069355 w 9854218"/>
              <a:gd name="connsiteY2026" fmla="*/ 9044823 h 10287000"/>
              <a:gd name="connsiteX2027" fmla="*/ 992285 w 9854218"/>
              <a:gd name="connsiteY2027" fmla="*/ 8902113 h 10287000"/>
              <a:gd name="connsiteX2028" fmla="*/ 730658 w 9854218"/>
              <a:gd name="connsiteY2028" fmla="*/ 8414864 h 10287000"/>
              <a:gd name="connsiteX2029" fmla="*/ 720590 w 9854218"/>
              <a:gd name="connsiteY2029" fmla="*/ 8359856 h 10287000"/>
              <a:gd name="connsiteX2030" fmla="*/ 635510 w 9854218"/>
              <a:gd name="connsiteY2030" fmla="*/ 8151957 h 10287000"/>
              <a:gd name="connsiteX2031" fmla="*/ 609097 w 9854218"/>
              <a:gd name="connsiteY2031" fmla="*/ 8125434 h 10287000"/>
              <a:gd name="connsiteX2032" fmla="*/ 576730 w 9854218"/>
              <a:gd name="connsiteY2032" fmla="*/ 8023539 h 10287000"/>
              <a:gd name="connsiteX2033" fmla="*/ 572618 w 9854218"/>
              <a:gd name="connsiteY2033" fmla="*/ 8043899 h 10287000"/>
              <a:gd name="connsiteX2034" fmla="*/ 503882 w 9854218"/>
              <a:gd name="connsiteY2034" fmla="*/ 7807515 h 10287000"/>
              <a:gd name="connsiteX2035" fmla="*/ 584957 w 9854218"/>
              <a:gd name="connsiteY2035" fmla="*/ 7982819 h 10287000"/>
              <a:gd name="connsiteX2036" fmla="*/ 666584 w 9854218"/>
              <a:gd name="connsiteY2036" fmla="*/ 8135721 h 10287000"/>
              <a:gd name="connsiteX2037" fmla="*/ 737858 w 9854218"/>
              <a:gd name="connsiteY2037" fmla="*/ 8285064 h 10287000"/>
              <a:gd name="connsiteX2038" fmla="*/ 741046 w 9854218"/>
              <a:gd name="connsiteY2038" fmla="*/ 8311013 h 10287000"/>
              <a:gd name="connsiteX2039" fmla="*/ 751222 w 9854218"/>
              <a:gd name="connsiteY2039" fmla="*/ 8313069 h 10287000"/>
              <a:gd name="connsiteX2040" fmla="*/ 737858 w 9854218"/>
              <a:gd name="connsiteY2040" fmla="*/ 8285064 h 10287000"/>
              <a:gd name="connsiteX2041" fmla="*/ 737039 w 9854218"/>
              <a:gd name="connsiteY2041" fmla="*/ 8278418 h 10287000"/>
              <a:gd name="connsiteX2042" fmla="*/ 755335 w 9854218"/>
              <a:gd name="connsiteY2042" fmla="*/ 8292708 h 10287000"/>
              <a:gd name="connsiteX2043" fmla="*/ 765508 w 9854218"/>
              <a:gd name="connsiteY2043" fmla="*/ 8294763 h 10287000"/>
              <a:gd name="connsiteX2044" fmla="*/ 619700 w 9854218"/>
              <a:gd name="connsiteY2044" fmla="*/ 7915673 h 10287000"/>
              <a:gd name="connsiteX2045" fmla="*/ 595768 w 9854218"/>
              <a:gd name="connsiteY2045" fmla="*/ 7799183 h 10287000"/>
              <a:gd name="connsiteX2046" fmla="*/ 566957 w 9854218"/>
              <a:gd name="connsiteY2046" fmla="*/ 7711010 h 10287000"/>
              <a:gd name="connsiteX2047" fmla="*/ 544270 w 9854218"/>
              <a:gd name="connsiteY2047" fmla="*/ 7665315 h 10287000"/>
              <a:gd name="connsiteX2048" fmla="*/ 490513 w 9854218"/>
              <a:gd name="connsiteY2048" fmla="*/ 7517186 h 10287000"/>
              <a:gd name="connsiteX2049" fmla="*/ 368836 w 9854218"/>
              <a:gd name="connsiteY2049" fmla="*/ 7144805 h 10287000"/>
              <a:gd name="connsiteX2050" fmla="*/ 329147 w 9854218"/>
              <a:gd name="connsiteY2050" fmla="*/ 7030430 h 10287000"/>
              <a:gd name="connsiteX2051" fmla="*/ 240769 w 9854218"/>
              <a:gd name="connsiteY2051" fmla="*/ 6618203 h 10287000"/>
              <a:gd name="connsiteX2052" fmla="*/ 223714 w 9854218"/>
              <a:gd name="connsiteY2052" fmla="*/ 6581958 h 10287000"/>
              <a:gd name="connsiteX2053" fmla="*/ 214768 w 9854218"/>
              <a:gd name="connsiteY2053" fmla="*/ 6550631 h 10287000"/>
              <a:gd name="connsiteX2054" fmla="*/ 215294 w 9854218"/>
              <a:gd name="connsiteY2054" fmla="*/ 6549543 h 10287000"/>
              <a:gd name="connsiteX2055" fmla="*/ 211654 w 9854218"/>
              <a:gd name="connsiteY2055" fmla="*/ 6539733 h 10287000"/>
              <a:gd name="connsiteX2056" fmla="*/ 214768 w 9854218"/>
              <a:gd name="connsiteY2056" fmla="*/ 6550631 h 10287000"/>
              <a:gd name="connsiteX2057" fmla="*/ 212959 w 9854218"/>
              <a:gd name="connsiteY2057" fmla="*/ 6554360 h 10287000"/>
              <a:gd name="connsiteX2058" fmla="*/ 215606 w 9854218"/>
              <a:gd name="connsiteY2058" fmla="*/ 6563334 h 10287000"/>
              <a:gd name="connsiteX2059" fmla="*/ 211577 w 9854218"/>
              <a:gd name="connsiteY2059" fmla="*/ 6562901 h 10287000"/>
              <a:gd name="connsiteX2060" fmla="*/ 133682 w 9854218"/>
              <a:gd name="connsiteY2060" fmla="*/ 6141731 h 10287000"/>
              <a:gd name="connsiteX2061" fmla="*/ 145867 w 9854218"/>
              <a:gd name="connsiteY2061" fmla="*/ 6132851 h 10287000"/>
              <a:gd name="connsiteX2062" fmla="*/ 102532 w 9854218"/>
              <a:gd name="connsiteY2062" fmla="*/ 5812410 h 10287000"/>
              <a:gd name="connsiteX2063" fmla="*/ 109325 w 9854218"/>
              <a:gd name="connsiteY2063" fmla="*/ 5723345 h 10287000"/>
              <a:gd name="connsiteX2064" fmla="*/ 78142 w 9854218"/>
              <a:gd name="connsiteY2064" fmla="*/ 5291246 h 10287000"/>
              <a:gd name="connsiteX2065" fmla="*/ 72668 w 9854218"/>
              <a:gd name="connsiteY2065" fmla="*/ 5085344 h 10287000"/>
              <a:gd name="connsiteX2066" fmla="*/ 57433 w 9854218"/>
              <a:gd name="connsiteY2066" fmla="*/ 4895465 h 10287000"/>
              <a:gd name="connsiteX2067" fmla="*/ 57532 w 9854218"/>
              <a:gd name="connsiteY2067" fmla="*/ 4895049 h 10287000"/>
              <a:gd name="connsiteX2068" fmla="*/ 56227 w 9854218"/>
              <a:gd name="connsiteY2068" fmla="*/ 4880423 h 10287000"/>
              <a:gd name="connsiteX2069" fmla="*/ 57433 w 9854218"/>
              <a:gd name="connsiteY2069" fmla="*/ 4895465 h 10287000"/>
              <a:gd name="connsiteX2070" fmla="*/ 52177 w 9854218"/>
              <a:gd name="connsiteY2070" fmla="*/ 4917644 h 10287000"/>
              <a:gd name="connsiteX2071" fmla="*/ 41602 w 9854218"/>
              <a:gd name="connsiteY2071" fmla="*/ 4881735 h 10287000"/>
              <a:gd name="connsiteX2072" fmla="*/ 40297 w 9854218"/>
              <a:gd name="connsiteY2072" fmla="*/ 4867110 h 10287000"/>
              <a:gd name="connsiteX2073" fmla="*/ 33638 w 9854218"/>
              <a:gd name="connsiteY2073" fmla="*/ 4875080 h 10287000"/>
              <a:gd name="connsiteX2074" fmla="*/ 38317 w 9854218"/>
              <a:gd name="connsiteY2074" fmla="*/ 5257962 h 10287000"/>
              <a:gd name="connsiteX2075" fmla="*/ 7763 w 9854218"/>
              <a:gd name="connsiteY2075" fmla="*/ 5245961 h 10287000"/>
              <a:gd name="connsiteX2076" fmla="*/ 13253 w 9854218"/>
              <a:gd name="connsiteY2076" fmla="*/ 5142273 h 10287000"/>
              <a:gd name="connsiteX2077" fmla="*/ 13523 w 9854218"/>
              <a:gd name="connsiteY2077" fmla="*/ 4980081 h 10287000"/>
              <a:gd name="connsiteX2078" fmla="*/ 15772 w 9854218"/>
              <a:gd name="connsiteY2078" fmla="*/ 4427040 h 10287000"/>
              <a:gd name="connsiteX2079" fmla="*/ 33140 w 9854218"/>
              <a:gd name="connsiteY2079" fmla="*/ 4373885 h 10287000"/>
              <a:gd name="connsiteX2080" fmla="*/ 57440 w 9854218"/>
              <a:gd name="connsiteY2080" fmla="*/ 4150566 h 10287000"/>
              <a:gd name="connsiteX2081" fmla="*/ 46864 w 9854218"/>
              <a:gd name="connsiteY2081" fmla="*/ 4114664 h 10287000"/>
              <a:gd name="connsiteX2082" fmla="*/ 67012 w 9854218"/>
              <a:gd name="connsiteY2082" fmla="*/ 4026818 h 10287000"/>
              <a:gd name="connsiteX2083" fmla="*/ 67000 w 9854218"/>
              <a:gd name="connsiteY2083" fmla="*/ 4020699 h 10287000"/>
              <a:gd name="connsiteX2084" fmla="*/ 65014 w 9854218"/>
              <a:gd name="connsiteY2084" fmla="*/ 4025822 h 10287000"/>
              <a:gd name="connsiteX2085" fmla="*/ 64348 w 9854218"/>
              <a:gd name="connsiteY2085" fmla="*/ 4027533 h 10287000"/>
              <a:gd name="connsiteX2086" fmla="*/ 61525 w 9854218"/>
              <a:gd name="connsiteY2086" fmla="*/ 4021134 h 10287000"/>
              <a:gd name="connsiteX2087" fmla="*/ 53659 w 9854218"/>
              <a:gd name="connsiteY2087" fmla="*/ 4025597 h 10287000"/>
              <a:gd name="connsiteX2088" fmla="*/ 56329 w 9854218"/>
              <a:gd name="connsiteY2088" fmla="*/ 4009362 h 10287000"/>
              <a:gd name="connsiteX2089" fmla="*/ 51775 w 9854218"/>
              <a:gd name="connsiteY2089" fmla="*/ 3999042 h 10287000"/>
              <a:gd name="connsiteX2090" fmla="*/ 57086 w 9854218"/>
              <a:gd name="connsiteY2090" fmla="*/ 3985355 h 10287000"/>
              <a:gd name="connsiteX2091" fmla="*/ 58274 w 9854218"/>
              <a:gd name="connsiteY2091" fmla="*/ 3984828 h 10287000"/>
              <a:gd name="connsiteX2092" fmla="*/ 60529 w 9854218"/>
              <a:gd name="connsiteY2092" fmla="*/ 3983834 h 10287000"/>
              <a:gd name="connsiteX2093" fmla="*/ 62828 w 9854218"/>
              <a:gd name="connsiteY2093" fmla="*/ 3969863 h 10287000"/>
              <a:gd name="connsiteX2094" fmla="*/ 56248 w 9854218"/>
              <a:gd name="connsiteY2094" fmla="*/ 3950091 h 10287000"/>
              <a:gd name="connsiteX2095" fmla="*/ 73595 w 9854218"/>
              <a:gd name="connsiteY2095" fmla="*/ 3739805 h 10287000"/>
              <a:gd name="connsiteX2096" fmla="*/ 129517 w 9854218"/>
              <a:gd name="connsiteY2096" fmla="*/ 3352061 h 10287000"/>
              <a:gd name="connsiteX2097" fmla="*/ 144617 w 9854218"/>
              <a:gd name="connsiteY2097" fmla="*/ 3231939 h 10287000"/>
              <a:gd name="connsiteX2098" fmla="*/ 248047 w 9854218"/>
              <a:gd name="connsiteY2098" fmla="*/ 2823230 h 10287000"/>
              <a:gd name="connsiteX2099" fmla="*/ 248816 w 9854218"/>
              <a:gd name="connsiteY2099" fmla="*/ 2783181 h 10287000"/>
              <a:gd name="connsiteX2100" fmla="*/ 254678 w 9854218"/>
              <a:gd name="connsiteY2100" fmla="*/ 2751132 h 10287000"/>
              <a:gd name="connsiteX2101" fmla="*/ 255632 w 9854218"/>
              <a:gd name="connsiteY2101" fmla="*/ 2750391 h 10287000"/>
              <a:gd name="connsiteX2102" fmla="*/ 256715 w 9854218"/>
              <a:gd name="connsiteY2102" fmla="*/ 2739984 h 10287000"/>
              <a:gd name="connsiteX2103" fmla="*/ 254678 w 9854218"/>
              <a:gd name="connsiteY2103" fmla="*/ 2751132 h 10287000"/>
              <a:gd name="connsiteX2104" fmla="*/ 251404 w 9854218"/>
              <a:gd name="connsiteY2104" fmla="*/ 2753673 h 10287000"/>
              <a:gd name="connsiteX2105" fmla="*/ 249802 w 9854218"/>
              <a:gd name="connsiteY2105" fmla="*/ 2762892 h 10287000"/>
              <a:gd name="connsiteX2106" fmla="*/ 246382 w 9854218"/>
              <a:gd name="connsiteY2106" fmla="*/ 2760717 h 10287000"/>
              <a:gd name="connsiteX2107" fmla="*/ 363172 w 9854218"/>
              <a:gd name="connsiteY2107" fmla="*/ 2348637 h 10287000"/>
              <a:gd name="connsiteX2108" fmla="*/ 378028 w 9854218"/>
              <a:gd name="connsiteY2108" fmla="*/ 2346074 h 10287000"/>
              <a:gd name="connsiteX2109" fmla="*/ 481169 w 9854218"/>
              <a:gd name="connsiteY2109" fmla="*/ 2039606 h 10287000"/>
              <a:gd name="connsiteX2110" fmla="*/ 526723 w 9854218"/>
              <a:gd name="connsiteY2110" fmla="*/ 1962774 h 10287000"/>
              <a:gd name="connsiteX2111" fmla="*/ 690233 w 9854218"/>
              <a:gd name="connsiteY2111" fmla="*/ 1561589 h 10287000"/>
              <a:gd name="connsiteX2112" fmla="*/ 776561 w 9854218"/>
              <a:gd name="connsiteY2112" fmla="*/ 1374578 h 10287000"/>
              <a:gd name="connsiteX2113" fmla="*/ 847036 w 9854218"/>
              <a:gd name="connsiteY2113" fmla="*/ 1197606 h 10287000"/>
              <a:gd name="connsiteX2114" fmla="*/ 847310 w 9854218"/>
              <a:gd name="connsiteY2114" fmla="*/ 1197278 h 10287000"/>
              <a:gd name="connsiteX2115" fmla="*/ 852622 w 9854218"/>
              <a:gd name="connsiteY2115" fmla="*/ 1183587 h 10287000"/>
              <a:gd name="connsiteX2116" fmla="*/ 847036 w 9854218"/>
              <a:gd name="connsiteY2116" fmla="*/ 1197606 h 10287000"/>
              <a:gd name="connsiteX2117" fmla="*/ 832498 w 9854218"/>
              <a:gd name="connsiteY2117" fmla="*/ 1215161 h 10287000"/>
              <a:gd name="connsiteX2118" fmla="*/ 838928 w 9854218"/>
              <a:gd name="connsiteY2118" fmla="*/ 1178285 h 10287000"/>
              <a:gd name="connsiteX2119" fmla="*/ 844240 w 9854218"/>
              <a:gd name="connsiteY2119" fmla="*/ 1164594 h 10287000"/>
              <a:gd name="connsiteX2120" fmla="*/ 834739 w 9854218"/>
              <a:gd name="connsiteY2120" fmla="*/ 1168788 h 10287000"/>
              <a:gd name="connsiteX2121" fmla="*/ 669278 w 9854218"/>
              <a:gd name="connsiteY2121" fmla="*/ 1514108 h 10287000"/>
              <a:gd name="connsiteX2122" fmla="*/ 647206 w 9854218"/>
              <a:gd name="connsiteY2122" fmla="*/ 1489808 h 10287000"/>
              <a:gd name="connsiteX2123" fmla="*/ 698071 w 9854218"/>
              <a:gd name="connsiteY2123" fmla="*/ 1399286 h 10287000"/>
              <a:gd name="connsiteX2124" fmla="*/ 770180 w 9854218"/>
              <a:gd name="connsiteY2124" fmla="*/ 1254008 h 10287000"/>
              <a:gd name="connsiteX2125" fmla="*/ 1017248 w 9854218"/>
              <a:gd name="connsiteY2125" fmla="*/ 759218 h 10287000"/>
              <a:gd name="connsiteX2126" fmla="*/ 1056373 w 9854218"/>
              <a:gd name="connsiteY2126" fmla="*/ 719261 h 10287000"/>
              <a:gd name="connsiteX2127" fmla="*/ 1177109 w 9854218"/>
              <a:gd name="connsiteY2127" fmla="*/ 529832 h 10287000"/>
              <a:gd name="connsiteX2128" fmla="*/ 1183537 w 9854218"/>
              <a:gd name="connsiteY2128" fmla="*/ 492956 h 10287000"/>
              <a:gd name="connsiteX2129" fmla="*/ 1248095 w 9854218"/>
              <a:gd name="connsiteY2129" fmla="*/ 407736 h 10287000"/>
              <a:gd name="connsiteX2130" fmla="*/ 1229092 w 9854218"/>
              <a:gd name="connsiteY2130" fmla="*/ 416123 h 10287000"/>
              <a:gd name="connsiteX2131" fmla="*/ 1382525 w 9854218"/>
              <a:gd name="connsiteY2131" fmla="*/ 223613 h 10287000"/>
              <a:gd name="connsiteX2132" fmla="*/ 1286102 w 9854218"/>
              <a:gd name="connsiteY2132" fmla="*/ 390965 h 10287000"/>
              <a:gd name="connsiteX2133" fmla="*/ 1208299 w 9854218"/>
              <a:gd name="connsiteY2133" fmla="*/ 545849 h 10287000"/>
              <a:gd name="connsiteX2134" fmla="*/ 1127428 w 9854218"/>
              <a:gd name="connsiteY2134" fmla="*/ 690221 h 10287000"/>
              <a:gd name="connsiteX2135" fmla="*/ 1108069 w 9854218"/>
              <a:gd name="connsiteY2135" fmla="*/ 707793 h 10287000"/>
              <a:gd name="connsiteX2136" fmla="*/ 1112260 w 9854218"/>
              <a:gd name="connsiteY2136" fmla="*/ 717290 h 10287000"/>
              <a:gd name="connsiteX2137" fmla="*/ 1127428 w 9854218"/>
              <a:gd name="connsiteY2137" fmla="*/ 690221 h 10287000"/>
              <a:gd name="connsiteX2138" fmla="*/ 1132385 w 9854218"/>
              <a:gd name="connsiteY2138" fmla="*/ 685718 h 10287000"/>
              <a:gd name="connsiteX2139" fmla="*/ 1131265 w 9854218"/>
              <a:gd name="connsiteY2139" fmla="*/ 708903 h 10287000"/>
              <a:gd name="connsiteX2140" fmla="*/ 1135454 w 9854218"/>
              <a:gd name="connsiteY2140" fmla="*/ 718400 h 10287000"/>
              <a:gd name="connsiteX2141" fmla="*/ 1256921 w 9854218"/>
              <a:gd name="connsiteY2141" fmla="*/ 549921 h 10287000"/>
              <a:gd name="connsiteX2142" fmla="*/ 1309982 w 9854218"/>
              <a:gd name="connsiteY2142" fmla="*/ 467855 h 10287000"/>
              <a:gd name="connsiteX2143" fmla="*/ 1323848 w 9854218"/>
              <a:gd name="connsiteY2143" fmla="*/ 443909 h 10287000"/>
              <a:gd name="connsiteX2144" fmla="*/ 1324727 w 9854218"/>
              <a:gd name="connsiteY2144" fmla="*/ 443033 h 10287000"/>
              <a:gd name="connsiteX2145" fmla="*/ 1360994 w 9854218"/>
              <a:gd name="connsiteY2145" fmla="*/ 380607 h 10287000"/>
              <a:gd name="connsiteX2146" fmla="*/ 1424365 w 9854218"/>
              <a:gd name="connsiteY2146" fmla="*/ 313029 h 10287000"/>
              <a:gd name="connsiteX2147" fmla="*/ 1496720 w 9854218"/>
              <a:gd name="connsiteY2147" fmla="*/ 196157 h 10287000"/>
              <a:gd name="connsiteX2148" fmla="*/ 1626158 w 9854218"/>
              <a:gd name="connsiteY2148" fmla="*/ 18683 h 10287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</a:cxnLst>
            <a:rect l="l" t="t" r="r" b="b"/>
            <a:pathLst>
              <a:path w="9854218" h="10287000">
                <a:moveTo>
                  <a:pt x="3702233" y="10176083"/>
                </a:moveTo>
                <a:cubicBezTo>
                  <a:pt x="3728380" y="10185165"/>
                  <a:pt x="3760481" y="10220492"/>
                  <a:pt x="3789992" y="10255622"/>
                </a:cubicBezTo>
                <a:lnTo>
                  <a:pt x="3816186" y="10287000"/>
                </a:lnTo>
                <a:lnTo>
                  <a:pt x="3772988" y="10287000"/>
                </a:lnTo>
                <a:lnTo>
                  <a:pt x="3756533" y="10269543"/>
                </a:lnTo>
                <a:cubicBezTo>
                  <a:pt x="3731954" y="10240912"/>
                  <a:pt x="3708635" y="10211966"/>
                  <a:pt x="3678386" y="10176729"/>
                </a:cubicBezTo>
                <a:cubicBezTo>
                  <a:pt x="3685463" y="10172945"/>
                  <a:pt x="3693517" y="10173056"/>
                  <a:pt x="3702233" y="10176083"/>
                </a:cubicBezTo>
                <a:close/>
                <a:moveTo>
                  <a:pt x="3705923" y="10030618"/>
                </a:moveTo>
                <a:cubicBezTo>
                  <a:pt x="3756330" y="10082211"/>
                  <a:pt x="3803273" y="10130656"/>
                  <a:pt x="3847970" y="10176154"/>
                </a:cubicBezTo>
                <a:lnTo>
                  <a:pt x="3959456" y="10287000"/>
                </a:lnTo>
                <a:lnTo>
                  <a:pt x="3904190" y="10287000"/>
                </a:lnTo>
                <a:lnTo>
                  <a:pt x="3902490" y="10285437"/>
                </a:lnTo>
                <a:cubicBezTo>
                  <a:pt x="3877370" y="10263302"/>
                  <a:pt x="3852800" y="10242700"/>
                  <a:pt x="3829493" y="10224459"/>
                </a:cubicBezTo>
                <a:cubicBezTo>
                  <a:pt x="3781590" y="10161530"/>
                  <a:pt x="3721092" y="10091055"/>
                  <a:pt x="3705923" y="10030618"/>
                </a:cubicBezTo>
                <a:close/>
                <a:moveTo>
                  <a:pt x="1244332" y="9732028"/>
                </a:moveTo>
                <a:lnTo>
                  <a:pt x="1244333" y="9742350"/>
                </a:lnTo>
                <a:lnTo>
                  <a:pt x="1244333" y="9752674"/>
                </a:lnTo>
                <a:lnTo>
                  <a:pt x="1234499" y="9744334"/>
                </a:lnTo>
                <a:cubicBezTo>
                  <a:pt x="1234333" y="9743673"/>
                  <a:pt x="1234166" y="9743012"/>
                  <a:pt x="1234001" y="9742350"/>
                </a:cubicBezTo>
                <a:cubicBezTo>
                  <a:pt x="1234001" y="9732026"/>
                  <a:pt x="1234001" y="9732026"/>
                  <a:pt x="1244332" y="9732028"/>
                </a:cubicBezTo>
                <a:close/>
                <a:moveTo>
                  <a:pt x="3569508" y="9650436"/>
                </a:moveTo>
                <a:lnTo>
                  <a:pt x="3581998" y="9662421"/>
                </a:lnTo>
                <a:cubicBezTo>
                  <a:pt x="3575669" y="9662421"/>
                  <a:pt x="3572504" y="9659258"/>
                  <a:pt x="3570923" y="9656094"/>
                </a:cubicBezTo>
                <a:close/>
                <a:moveTo>
                  <a:pt x="3568812" y="9649767"/>
                </a:moveTo>
                <a:lnTo>
                  <a:pt x="3569340" y="9649768"/>
                </a:lnTo>
                <a:lnTo>
                  <a:pt x="3569508" y="9650436"/>
                </a:lnTo>
                <a:close/>
                <a:moveTo>
                  <a:pt x="3733836" y="9636734"/>
                </a:moveTo>
                <a:lnTo>
                  <a:pt x="3746490" y="9649767"/>
                </a:lnTo>
                <a:lnTo>
                  <a:pt x="3733838" y="9637113"/>
                </a:lnTo>
                <a:close/>
                <a:moveTo>
                  <a:pt x="3494952" y="9551220"/>
                </a:moveTo>
                <a:lnTo>
                  <a:pt x="3496187" y="9552490"/>
                </a:lnTo>
                <a:lnTo>
                  <a:pt x="3504850" y="9560888"/>
                </a:lnTo>
                <a:lnTo>
                  <a:pt x="3499745" y="9559612"/>
                </a:lnTo>
                <a:close/>
                <a:moveTo>
                  <a:pt x="3455460" y="9510579"/>
                </a:moveTo>
                <a:cubicBezTo>
                  <a:pt x="3468112" y="9523228"/>
                  <a:pt x="3480766" y="9523232"/>
                  <a:pt x="3480766" y="9535886"/>
                </a:cubicBezTo>
                <a:lnTo>
                  <a:pt x="3493421" y="9548540"/>
                </a:lnTo>
                <a:lnTo>
                  <a:pt x="3494952" y="9551220"/>
                </a:lnTo>
                <a:close/>
                <a:moveTo>
                  <a:pt x="3392190" y="9409350"/>
                </a:moveTo>
                <a:lnTo>
                  <a:pt x="3404846" y="9409350"/>
                </a:lnTo>
                <a:lnTo>
                  <a:pt x="3417497" y="9409350"/>
                </a:lnTo>
                <a:cubicBezTo>
                  <a:pt x="3518728" y="9510580"/>
                  <a:pt x="3670571" y="9649764"/>
                  <a:pt x="3797105" y="9738340"/>
                </a:cubicBezTo>
                <a:lnTo>
                  <a:pt x="3809762" y="9738340"/>
                </a:lnTo>
                <a:cubicBezTo>
                  <a:pt x="3809762" y="9750993"/>
                  <a:pt x="3822416" y="9763647"/>
                  <a:pt x="3835066" y="9776301"/>
                </a:cubicBezTo>
                <a:cubicBezTo>
                  <a:pt x="3835066" y="9776301"/>
                  <a:pt x="3873026" y="9814262"/>
                  <a:pt x="3873026" y="9801610"/>
                </a:cubicBezTo>
                <a:lnTo>
                  <a:pt x="3910990" y="9839571"/>
                </a:lnTo>
                <a:cubicBezTo>
                  <a:pt x="3923640" y="9852224"/>
                  <a:pt x="3923640" y="9852224"/>
                  <a:pt x="3936296" y="9852222"/>
                </a:cubicBezTo>
                <a:cubicBezTo>
                  <a:pt x="3936298" y="9864876"/>
                  <a:pt x="3948950" y="9864876"/>
                  <a:pt x="3961601" y="9877532"/>
                </a:cubicBezTo>
                <a:cubicBezTo>
                  <a:pt x="3961601" y="9877532"/>
                  <a:pt x="3986910" y="9890182"/>
                  <a:pt x="3999564" y="9902836"/>
                </a:cubicBezTo>
                <a:cubicBezTo>
                  <a:pt x="4037526" y="9953451"/>
                  <a:pt x="4075487" y="9966108"/>
                  <a:pt x="4113444" y="10004066"/>
                </a:cubicBezTo>
                <a:cubicBezTo>
                  <a:pt x="4138752" y="10016718"/>
                  <a:pt x="4164058" y="10042026"/>
                  <a:pt x="4176716" y="10054680"/>
                </a:cubicBezTo>
                <a:cubicBezTo>
                  <a:pt x="4202021" y="10067332"/>
                  <a:pt x="4227329" y="10092639"/>
                  <a:pt x="4239982" y="10105293"/>
                </a:cubicBezTo>
                <a:cubicBezTo>
                  <a:pt x="4277945" y="10143254"/>
                  <a:pt x="4328554" y="10168562"/>
                  <a:pt x="4341209" y="10181214"/>
                </a:cubicBezTo>
                <a:cubicBezTo>
                  <a:pt x="4353864" y="10168563"/>
                  <a:pt x="4290594" y="10155908"/>
                  <a:pt x="4328555" y="10143254"/>
                </a:cubicBezTo>
                <a:lnTo>
                  <a:pt x="4328555" y="10155908"/>
                </a:lnTo>
                <a:cubicBezTo>
                  <a:pt x="4353864" y="10168563"/>
                  <a:pt x="4366518" y="10181214"/>
                  <a:pt x="4391824" y="10181214"/>
                </a:cubicBezTo>
                <a:lnTo>
                  <a:pt x="4391824" y="10168562"/>
                </a:lnTo>
                <a:lnTo>
                  <a:pt x="4404478" y="10168562"/>
                </a:lnTo>
                <a:lnTo>
                  <a:pt x="4404476" y="10181214"/>
                </a:lnTo>
                <a:lnTo>
                  <a:pt x="4417134" y="10193868"/>
                </a:lnTo>
                <a:cubicBezTo>
                  <a:pt x="4448766" y="10206520"/>
                  <a:pt x="4477236" y="10225500"/>
                  <a:pt x="4504126" y="10246062"/>
                </a:cubicBezTo>
                <a:lnTo>
                  <a:pt x="4555560" y="10287000"/>
                </a:lnTo>
                <a:lnTo>
                  <a:pt x="4347497" y="10287000"/>
                </a:lnTo>
                <a:lnTo>
                  <a:pt x="4341209" y="10282443"/>
                </a:lnTo>
                <a:cubicBezTo>
                  <a:pt x="4252636" y="10231826"/>
                  <a:pt x="4176714" y="10168562"/>
                  <a:pt x="4088141" y="10105290"/>
                </a:cubicBezTo>
                <a:cubicBezTo>
                  <a:pt x="4088138" y="10101074"/>
                  <a:pt x="4088140" y="10096856"/>
                  <a:pt x="4088136" y="10092639"/>
                </a:cubicBezTo>
                <a:cubicBezTo>
                  <a:pt x="4050179" y="10067332"/>
                  <a:pt x="4012217" y="10029374"/>
                  <a:pt x="3974256" y="10004066"/>
                </a:cubicBezTo>
                <a:lnTo>
                  <a:pt x="3974255" y="9991412"/>
                </a:lnTo>
                <a:lnTo>
                  <a:pt x="3974255" y="9978758"/>
                </a:lnTo>
                <a:lnTo>
                  <a:pt x="3961601" y="9966108"/>
                </a:lnTo>
                <a:lnTo>
                  <a:pt x="3948950" y="9953451"/>
                </a:lnTo>
                <a:lnTo>
                  <a:pt x="3936296" y="9953451"/>
                </a:lnTo>
                <a:cubicBezTo>
                  <a:pt x="3936296" y="9953451"/>
                  <a:pt x="3936296" y="9966106"/>
                  <a:pt x="3948952" y="9966104"/>
                </a:cubicBezTo>
                <a:lnTo>
                  <a:pt x="3961601" y="9978758"/>
                </a:lnTo>
                <a:lnTo>
                  <a:pt x="3948950" y="9991412"/>
                </a:lnTo>
                <a:cubicBezTo>
                  <a:pt x="3910990" y="9953451"/>
                  <a:pt x="3873028" y="9915490"/>
                  <a:pt x="3835066" y="9890182"/>
                </a:cubicBezTo>
                <a:cubicBezTo>
                  <a:pt x="3835067" y="9877528"/>
                  <a:pt x="3822413" y="9877532"/>
                  <a:pt x="3822413" y="9877532"/>
                </a:cubicBezTo>
                <a:cubicBezTo>
                  <a:pt x="3822414" y="9873314"/>
                  <a:pt x="3822414" y="9869094"/>
                  <a:pt x="3822416" y="9864876"/>
                </a:cubicBezTo>
                <a:lnTo>
                  <a:pt x="3784448" y="9826916"/>
                </a:lnTo>
                <a:cubicBezTo>
                  <a:pt x="3784448" y="9826916"/>
                  <a:pt x="3784451" y="9814262"/>
                  <a:pt x="3771798" y="9814262"/>
                </a:cubicBezTo>
                <a:cubicBezTo>
                  <a:pt x="3771802" y="9801610"/>
                  <a:pt x="3759146" y="9801610"/>
                  <a:pt x="3759143" y="9788956"/>
                </a:cubicBezTo>
                <a:cubicBezTo>
                  <a:pt x="3746490" y="9788956"/>
                  <a:pt x="3746489" y="9776301"/>
                  <a:pt x="3733834" y="9763647"/>
                </a:cubicBezTo>
                <a:lnTo>
                  <a:pt x="3721186" y="9763647"/>
                </a:lnTo>
                <a:lnTo>
                  <a:pt x="3721187" y="9750996"/>
                </a:lnTo>
                <a:lnTo>
                  <a:pt x="3708530" y="9750996"/>
                </a:lnTo>
                <a:lnTo>
                  <a:pt x="3670571" y="9713032"/>
                </a:lnTo>
                <a:lnTo>
                  <a:pt x="3683226" y="9713036"/>
                </a:lnTo>
                <a:cubicBezTo>
                  <a:pt x="3632610" y="9662421"/>
                  <a:pt x="3607301" y="9649768"/>
                  <a:pt x="3556684" y="9573846"/>
                </a:cubicBezTo>
                <a:cubicBezTo>
                  <a:pt x="3569340" y="9611808"/>
                  <a:pt x="3556688" y="9608644"/>
                  <a:pt x="3534545" y="9589662"/>
                </a:cubicBezTo>
                <a:lnTo>
                  <a:pt x="3531419" y="9586632"/>
                </a:lnTo>
                <a:cubicBezTo>
                  <a:pt x="3531408" y="9586588"/>
                  <a:pt x="3531394" y="9586545"/>
                  <a:pt x="3531382" y="9586500"/>
                </a:cubicBezTo>
                <a:lnTo>
                  <a:pt x="3531150" y="9586378"/>
                </a:lnTo>
                <a:lnTo>
                  <a:pt x="3504850" y="9560888"/>
                </a:lnTo>
                <a:lnTo>
                  <a:pt x="3506069" y="9561192"/>
                </a:lnTo>
                <a:lnTo>
                  <a:pt x="3518723" y="9573846"/>
                </a:lnTo>
                <a:cubicBezTo>
                  <a:pt x="3518723" y="9573846"/>
                  <a:pt x="3531382" y="9586500"/>
                  <a:pt x="3531383" y="9573843"/>
                </a:cubicBezTo>
                <a:lnTo>
                  <a:pt x="3531382" y="9561192"/>
                </a:lnTo>
                <a:cubicBezTo>
                  <a:pt x="3506072" y="9535886"/>
                  <a:pt x="3493421" y="9510579"/>
                  <a:pt x="3468112" y="9497925"/>
                </a:cubicBezTo>
                <a:lnTo>
                  <a:pt x="3468112" y="9485268"/>
                </a:lnTo>
                <a:lnTo>
                  <a:pt x="3442808" y="9459964"/>
                </a:lnTo>
                <a:lnTo>
                  <a:pt x="3417497" y="9434658"/>
                </a:lnTo>
                <a:close/>
                <a:moveTo>
                  <a:pt x="3012584" y="9257510"/>
                </a:moveTo>
                <a:cubicBezTo>
                  <a:pt x="3018910" y="9263835"/>
                  <a:pt x="3022073" y="9267000"/>
                  <a:pt x="3022073" y="9268580"/>
                </a:cubicBezTo>
                <a:lnTo>
                  <a:pt x="3019736" y="9268968"/>
                </a:lnTo>
                <a:close/>
                <a:moveTo>
                  <a:pt x="2847455" y="8968533"/>
                </a:moveTo>
                <a:lnTo>
                  <a:pt x="2865802" y="8997360"/>
                </a:lnTo>
                <a:lnTo>
                  <a:pt x="2872247" y="9005182"/>
                </a:lnTo>
                <a:lnTo>
                  <a:pt x="2871814" y="9000681"/>
                </a:lnTo>
                <a:cubicBezTo>
                  <a:pt x="2873394" y="8998506"/>
                  <a:pt x="2876558" y="8998902"/>
                  <a:pt x="2879723" y="8999692"/>
                </a:cubicBezTo>
                <a:lnTo>
                  <a:pt x="2882327" y="9000148"/>
                </a:lnTo>
                <a:lnTo>
                  <a:pt x="2884188" y="8997712"/>
                </a:lnTo>
                <a:lnTo>
                  <a:pt x="2885808" y="9000758"/>
                </a:lnTo>
                <a:lnTo>
                  <a:pt x="2887631" y="9001077"/>
                </a:lnTo>
                <a:cubicBezTo>
                  <a:pt x="2889212" y="9000483"/>
                  <a:pt x="2889210" y="8998112"/>
                  <a:pt x="2886047" y="8991786"/>
                </a:cubicBezTo>
                <a:cubicBezTo>
                  <a:pt x="2867069" y="8972806"/>
                  <a:pt x="2862323" y="8982292"/>
                  <a:pt x="2850458" y="8972210"/>
                </a:cubicBezTo>
                <a:close/>
                <a:moveTo>
                  <a:pt x="1261949" y="8958783"/>
                </a:moveTo>
                <a:lnTo>
                  <a:pt x="1262372" y="8959339"/>
                </a:lnTo>
                <a:cubicBezTo>
                  <a:pt x="1264021" y="8962171"/>
                  <a:pt x="1265987" y="8966141"/>
                  <a:pt x="1268305" y="8971461"/>
                </a:cubicBezTo>
                <a:close/>
                <a:moveTo>
                  <a:pt x="1119280" y="8584360"/>
                </a:moveTo>
                <a:lnTo>
                  <a:pt x="1121074" y="8598870"/>
                </a:lnTo>
                <a:cubicBezTo>
                  <a:pt x="1122452" y="8605311"/>
                  <a:pt x="1124435" y="8612043"/>
                  <a:pt x="1126753" y="8617364"/>
                </a:cubicBezTo>
                <a:cubicBezTo>
                  <a:pt x="1132726" y="8622356"/>
                  <a:pt x="1138447" y="8629674"/>
                  <a:pt x="1143751" y="8637490"/>
                </a:cubicBezTo>
                <a:lnTo>
                  <a:pt x="1153022" y="8652268"/>
                </a:lnTo>
                <a:close/>
                <a:moveTo>
                  <a:pt x="993608" y="8563178"/>
                </a:moveTo>
                <a:lnTo>
                  <a:pt x="1001044" y="8596624"/>
                </a:lnTo>
                <a:cubicBezTo>
                  <a:pt x="1023343" y="8643507"/>
                  <a:pt x="968572" y="8547682"/>
                  <a:pt x="978638" y="8602694"/>
                </a:cubicBezTo>
                <a:cubicBezTo>
                  <a:pt x="1037416" y="8731112"/>
                  <a:pt x="1104418" y="8818810"/>
                  <a:pt x="1150966" y="8955356"/>
                </a:cubicBezTo>
                <a:cubicBezTo>
                  <a:pt x="1197725" y="8985993"/>
                  <a:pt x="1236260" y="9057346"/>
                  <a:pt x="1276850" y="9118520"/>
                </a:cubicBezTo>
                <a:cubicBezTo>
                  <a:pt x="1315387" y="9189874"/>
                  <a:pt x="1353923" y="9261231"/>
                  <a:pt x="1396570" y="9312225"/>
                </a:cubicBezTo>
                <a:cubicBezTo>
                  <a:pt x="1364095" y="9263283"/>
                  <a:pt x="1376327" y="9255160"/>
                  <a:pt x="1368209" y="9242926"/>
                </a:cubicBezTo>
                <a:cubicBezTo>
                  <a:pt x="1386500" y="9257217"/>
                  <a:pt x="1388557" y="9247036"/>
                  <a:pt x="1398731" y="9249092"/>
                </a:cubicBezTo>
                <a:cubicBezTo>
                  <a:pt x="1408364" y="9266931"/>
                  <a:pt x="1416862" y="9280566"/>
                  <a:pt x="1424824" y="9291942"/>
                </a:cubicBezTo>
                <a:lnTo>
                  <a:pt x="1437577" y="9308271"/>
                </a:lnTo>
                <a:lnTo>
                  <a:pt x="1426300" y="9285122"/>
                </a:lnTo>
                <a:cubicBezTo>
                  <a:pt x="1417705" y="9267270"/>
                  <a:pt x="1408622" y="9248446"/>
                  <a:pt x="1398241" y="9227676"/>
                </a:cubicBezTo>
                <a:lnTo>
                  <a:pt x="1399595" y="9228166"/>
                </a:lnTo>
                <a:lnTo>
                  <a:pt x="1358393" y="9155026"/>
                </a:lnTo>
                <a:cubicBezTo>
                  <a:pt x="1350428" y="9148370"/>
                  <a:pt x="1333193" y="9120430"/>
                  <a:pt x="1318568" y="9121743"/>
                </a:cubicBezTo>
                <a:cubicBezTo>
                  <a:pt x="1253680" y="8972774"/>
                  <a:pt x="1175336" y="8920834"/>
                  <a:pt x="1090468" y="8795770"/>
                </a:cubicBezTo>
                <a:cubicBezTo>
                  <a:pt x="1081232" y="8754218"/>
                  <a:pt x="1067092" y="8714482"/>
                  <a:pt x="1049606" y="8674704"/>
                </a:cubicBezTo>
                <a:close/>
                <a:moveTo>
                  <a:pt x="978416" y="8451138"/>
                </a:moveTo>
                <a:lnTo>
                  <a:pt x="1037843" y="8567380"/>
                </a:lnTo>
                <a:cubicBezTo>
                  <a:pt x="1065181" y="8615604"/>
                  <a:pt x="1093349" y="8662830"/>
                  <a:pt x="1119851" y="8712051"/>
                </a:cubicBezTo>
                <a:cubicBezTo>
                  <a:pt x="1149687" y="8757285"/>
                  <a:pt x="1179522" y="8802521"/>
                  <a:pt x="1205537" y="8846256"/>
                </a:cubicBezTo>
                <a:lnTo>
                  <a:pt x="1261949" y="8958783"/>
                </a:lnTo>
                <a:lnTo>
                  <a:pt x="1258343" y="8954042"/>
                </a:lnTo>
                <a:cubicBezTo>
                  <a:pt x="1252057" y="8949424"/>
                  <a:pt x="1255998" y="8978095"/>
                  <a:pt x="1262950" y="8994056"/>
                </a:cubicBezTo>
                <a:cubicBezTo>
                  <a:pt x="1286843" y="9014024"/>
                  <a:pt x="1306687" y="9071212"/>
                  <a:pt x="1312042" y="9048618"/>
                </a:cubicBezTo>
                <a:cubicBezTo>
                  <a:pt x="1344847" y="9106488"/>
                  <a:pt x="1362742" y="9136668"/>
                  <a:pt x="1391452" y="9183502"/>
                </a:cubicBezTo>
                <a:lnTo>
                  <a:pt x="1424497" y="9237166"/>
                </a:lnTo>
                <a:lnTo>
                  <a:pt x="1429220" y="9238874"/>
                </a:lnTo>
                <a:lnTo>
                  <a:pt x="1434265" y="9245505"/>
                </a:lnTo>
                <a:lnTo>
                  <a:pt x="1456580" y="9264154"/>
                </a:lnTo>
                <a:cubicBezTo>
                  <a:pt x="1466537" y="9272475"/>
                  <a:pt x="1476492" y="9280796"/>
                  <a:pt x="1488438" y="9290780"/>
                </a:cubicBezTo>
                <a:cubicBezTo>
                  <a:pt x="1499014" y="9326686"/>
                  <a:pt x="1532177" y="9367938"/>
                  <a:pt x="1565340" y="9409190"/>
                </a:cubicBezTo>
                <a:cubicBezTo>
                  <a:pt x="1605166" y="9442467"/>
                  <a:pt x="1630366" y="9477063"/>
                  <a:pt x="1632974" y="9506312"/>
                </a:cubicBezTo>
                <a:cubicBezTo>
                  <a:pt x="1632974" y="9506312"/>
                  <a:pt x="1632974" y="9506312"/>
                  <a:pt x="1626314" y="9514282"/>
                </a:cubicBezTo>
                <a:lnTo>
                  <a:pt x="1611659" y="9502036"/>
                </a:lnTo>
                <a:lnTo>
                  <a:pt x="1622706" y="9517170"/>
                </a:lnTo>
                <a:lnTo>
                  <a:pt x="1722140" y="9649444"/>
                </a:lnTo>
                <a:lnTo>
                  <a:pt x="1730402" y="9674248"/>
                </a:lnTo>
                <a:cubicBezTo>
                  <a:pt x="1730402" y="9674248"/>
                  <a:pt x="1730402" y="9674248"/>
                  <a:pt x="1740784" y="9674248"/>
                </a:cubicBezTo>
                <a:lnTo>
                  <a:pt x="1722140" y="9649444"/>
                </a:lnTo>
                <a:lnTo>
                  <a:pt x="1720020" y="9643092"/>
                </a:lnTo>
                <a:cubicBezTo>
                  <a:pt x="1730402" y="9632706"/>
                  <a:pt x="1740782" y="9643092"/>
                  <a:pt x="1740782" y="9653476"/>
                </a:cubicBezTo>
                <a:cubicBezTo>
                  <a:pt x="1751162" y="9653476"/>
                  <a:pt x="1751162" y="9653476"/>
                  <a:pt x="1751162" y="9653476"/>
                </a:cubicBezTo>
                <a:lnTo>
                  <a:pt x="1657852" y="9494422"/>
                </a:lnTo>
                <a:lnTo>
                  <a:pt x="1559534" y="9346986"/>
                </a:lnTo>
                <a:lnTo>
                  <a:pt x="1533182" y="9310760"/>
                </a:lnTo>
                <a:lnTo>
                  <a:pt x="1529318" y="9301674"/>
                </a:lnTo>
                <a:lnTo>
                  <a:pt x="1470966" y="9214168"/>
                </a:lnTo>
                <a:lnTo>
                  <a:pt x="1207861" y="8762176"/>
                </a:lnTo>
                <a:lnTo>
                  <a:pt x="1204783" y="8758706"/>
                </a:lnTo>
                <a:cubicBezTo>
                  <a:pt x="1197649" y="8751052"/>
                  <a:pt x="1189684" y="8744396"/>
                  <a:pt x="1182371" y="8745052"/>
                </a:cubicBezTo>
                <a:cubicBezTo>
                  <a:pt x="1133705" y="8633324"/>
                  <a:pt x="1077472" y="8576176"/>
                  <a:pt x="1016593" y="8501824"/>
                </a:cubicBezTo>
                <a:close/>
                <a:moveTo>
                  <a:pt x="490171" y="8276537"/>
                </a:moveTo>
                <a:cubicBezTo>
                  <a:pt x="531494" y="8338470"/>
                  <a:pt x="562486" y="8452023"/>
                  <a:pt x="583148" y="8524276"/>
                </a:cubicBezTo>
                <a:cubicBezTo>
                  <a:pt x="614143" y="8513955"/>
                  <a:pt x="676127" y="8637828"/>
                  <a:pt x="676129" y="8689440"/>
                </a:cubicBezTo>
                <a:cubicBezTo>
                  <a:pt x="676130" y="8692881"/>
                  <a:pt x="676129" y="8696324"/>
                  <a:pt x="676130" y="8699764"/>
                </a:cubicBezTo>
                <a:lnTo>
                  <a:pt x="686459" y="8710083"/>
                </a:lnTo>
                <a:cubicBezTo>
                  <a:pt x="686459" y="8720408"/>
                  <a:pt x="676129" y="8720408"/>
                  <a:pt x="676129" y="8720408"/>
                </a:cubicBezTo>
                <a:lnTo>
                  <a:pt x="670654" y="8717283"/>
                </a:lnTo>
                <a:lnTo>
                  <a:pt x="665797" y="8710086"/>
                </a:lnTo>
                <a:cubicBezTo>
                  <a:pt x="665797" y="8710086"/>
                  <a:pt x="665798" y="8712666"/>
                  <a:pt x="667090" y="8715248"/>
                </a:cubicBezTo>
                <a:lnTo>
                  <a:pt x="670654" y="8717283"/>
                </a:lnTo>
                <a:lnTo>
                  <a:pt x="689203" y="8744763"/>
                </a:lnTo>
                <a:cubicBezTo>
                  <a:pt x="712933" y="8777182"/>
                  <a:pt x="738116" y="8808152"/>
                  <a:pt x="769109" y="8885571"/>
                </a:cubicBezTo>
                <a:cubicBezTo>
                  <a:pt x="769103" y="8895892"/>
                  <a:pt x="779438" y="8895892"/>
                  <a:pt x="779438" y="8906216"/>
                </a:cubicBezTo>
                <a:cubicBezTo>
                  <a:pt x="779438" y="8916540"/>
                  <a:pt x="789766" y="8916537"/>
                  <a:pt x="789766" y="8916537"/>
                </a:cubicBezTo>
                <a:cubicBezTo>
                  <a:pt x="789769" y="8937183"/>
                  <a:pt x="789769" y="8937183"/>
                  <a:pt x="779437" y="8937183"/>
                </a:cubicBezTo>
                <a:cubicBezTo>
                  <a:pt x="789769" y="8947508"/>
                  <a:pt x="810430" y="8988798"/>
                  <a:pt x="820763" y="8988798"/>
                </a:cubicBezTo>
                <a:cubicBezTo>
                  <a:pt x="872417" y="9122992"/>
                  <a:pt x="986057" y="9267507"/>
                  <a:pt x="1027381" y="9401702"/>
                </a:cubicBezTo>
                <a:lnTo>
                  <a:pt x="1017050" y="9387624"/>
                </a:lnTo>
                <a:lnTo>
                  <a:pt x="1017052" y="9381058"/>
                </a:lnTo>
                <a:lnTo>
                  <a:pt x="1006720" y="9370732"/>
                </a:lnTo>
                <a:cubicBezTo>
                  <a:pt x="1006720" y="9375896"/>
                  <a:pt x="1009303" y="9378476"/>
                  <a:pt x="1013176" y="9382348"/>
                </a:cubicBezTo>
                <a:lnTo>
                  <a:pt x="1017050" y="9387624"/>
                </a:lnTo>
                <a:lnTo>
                  <a:pt x="1017052" y="9391383"/>
                </a:lnTo>
                <a:cubicBezTo>
                  <a:pt x="1027381" y="9401702"/>
                  <a:pt x="1027381" y="9401702"/>
                  <a:pt x="1027381" y="9412026"/>
                </a:cubicBezTo>
                <a:lnTo>
                  <a:pt x="1017050" y="9412023"/>
                </a:lnTo>
                <a:lnTo>
                  <a:pt x="1008526" y="9402288"/>
                </a:lnTo>
                <a:lnTo>
                  <a:pt x="1006721" y="9391380"/>
                </a:lnTo>
                <a:cubicBezTo>
                  <a:pt x="1006721" y="9396542"/>
                  <a:pt x="1006720" y="9399122"/>
                  <a:pt x="1008011" y="9401702"/>
                </a:cubicBezTo>
                <a:lnTo>
                  <a:pt x="1008526" y="9402288"/>
                </a:lnTo>
                <a:lnTo>
                  <a:pt x="1010108" y="9411862"/>
                </a:lnTo>
                <a:cubicBezTo>
                  <a:pt x="1016405" y="9436542"/>
                  <a:pt x="1029964" y="9471380"/>
                  <a:pt x="1037713" y="9494604"/>
                </a:cubicBezTo>
                <a:lnTo>
                  <a:pt x="1037713" y="9484281"/>
                </a:lnTo>
                <a:cubicBezTo>
                  <a:pt x="1037713" y="9484281"/>
                  <a:pt x="1048043" y="9494606"/>
                  <a:pt x="1048045" y="9504932"/>
                </a:cubicBezTo>
                <a:lnTo>
                  <a:pt x="1058374" y="9515253"/>
                </a:lnTo>
                <a:cubicBezTo>
                  <a:pt x="1097114" y="9592671"/>
                  <a:pt x="1141667" y="9658476"/>
                  <a:pt x="1192031" y="9708318"/>
                </a:cubicBezTo>
                <a:lnTo>
                  <a:pt x="1234499" y="9744334"/>
                </a:lnTo>
                <a:lnTo>
                  <a:pt x="1235294" y="9747512"/>
                </a:lnTo>
                <a:cubicBezTo>
                  <a:pt x="1236584" y="9750092"/>
                  <a:pt x="1239166" y="9752673"/>
                  <a:pt x="1244333" y="9752674"/>
                </a:cubicBezTo>
                <a:lnTo>
                  <a:pt x="1254664" y="9762996"/>
                </a:lnTo>
                <a:cubicBezTo>
                  <a:pt x="1264996" y="9752672"/>
                  <a:pt x="1285657" y="9783639"/>
                  <a:pt x="1306319" y="9814608"/>
                </a:cubicBezTo>
                <a:cubicBezTo>
                  <a:pt x="1295989" y="9824932"/>
                  <a:pt x="1285657" y="9804284"/>
                  <a:pt x="1285657" y="9804284"/>
                </a:cubicBezTo>
                <a:lnTo>
                  <a:pt x="1285658" y="9814605"/>
                </a:lnTo>
                <a:lnTo>
                  <a:pt x="1285658" y="9824930"/>
                </a:lnTo>
                <a:lnTo>
                  <a:pt x="1275326" y="9814608"/>
                </a:lnTo>
                <a:cubicBezTo>
                  <a:pt x="1295987" y="9845578"/>
                  <a:pt x="1285658" y="9845577"/>
                  <a:pt x="1316651" y="9886866"/>
                </a:cubicBezTo>
                <a:lnTo>
                  <a:pt x="1316650" y="9876544"/>
                </a:lnTo>
                <a:lnTo>
                  <a:pt x="1306318" y="9866220"/>
                </a:lnTo>
                <a:lnTo>
                  <a:pt x="1306319" y="9855898"/>
                </a:lnTo>
                <a:cubicBezTo>
                  <a:pt x="1316650" y="9855898"/>
                  <a:pt x="1326980" y="9866220"/>
                  <a:pt x="1326982" y="9876542"/>
                </a:cubicBezTo>
                <a:lnTo>
                  <a:pt x="1337312" y="9886866"/>
                </a:lnTo>
                <a:cubicBezTo>
                  <a:pt x="1357973" y="9886864"/>
                  <a:pt x="1388966" y="9917835"/>
                  <a:pt x="1430291" y="9959126"/>
                </a:cubicBezTo>
                <a:cubicBezTo>
                  <a:pt x="1461284" y="10000414"/>
                  <a:pt x="1492277" y="10052030"/>
                  <a:pt x="1502608" y="10082998"/>
                </a:cubicBezTo>
                <a:lnTo>
                  <a:pt x="1512938" y="10082996"/>
                </a:lnTo>
                <a:cubicBezTo>
                  <a:pt x="1512938" y="10082996"/>
                  <a:pt x="1523270" y="10093316"/>
                  <a:pt x="1523272" y="10103638"/>
                </a:cubicBezTo>
                <a:lnTo>
                  <a:pt x="1533602" y="10103642"/>
                </a:lnTo>
                <a:lnTo>
                  <a:pt x="1533600" y="10113968"/>
                </a:lnTo>
                <a:cubicBezTo>
                  <a:pt x="1554262" y="10144932"/>
                  <a:pt x="1564594" y="10134608"/>
                  <a:pt x="1585256" y="10175902"/>
                </a:cubicBezTo>
                <a:cubicBezTo>
                  <a:pt x="1585256" y="10196548"/>
                  <a:pt x="1564594" y="10165578"/>
                  <a:pt x="1554262" y="10165578"/>
                </a:cubicBezTo>
                <a:lnTo>
                  <a:pt x="1554263" y="10175902"/>
                </a:lnTo>
                <a:cubicBezTo>
                  <a:pt x="1554262" y="10186224"/>
                  <a:pt x="1543931" y="10175902"/>
                  <a:pt x="1543931" y="10165578"/>
                </a:cubicBezTo>
                <a:lnTo>
                  <a:pt x="1533600" y="10165576"/>
                </a:lnTo>
                <a:cubicBezTo>
                  <a:pt x="1554263" y="10196548"/>
                  <a:pt x="1585254" y="10227514"/>
                  <a:pt x="1605917" y="10248159"/>
                </a:cubicBezTo>
                <a:lnTo>
                  <a:pt x="1626580" y="10227514"/>
                </a:lnTo>
                <a:lnTo>
                  <a:pt x="1705960" y="10287000"/>
                </a:lnTo>
                <a:lnTo>
                  <a:pt x="1582592" y="10287000"/>
                </a:lnTo>
                <a:lnTo>
                  <a:pt x="1543931" y="10237834"/>
                </a:lnTo>
                <a:cubicBezTo>
                  <a:pt x="1505190" y="10188802"/>
                  <a:pt x="1466448" y="10139770"/>
                  <a:pt x="1430290" y="10093320"/>
                </a:cubicBezTo>
                <a:cubicBezTo>
                  <a:pt x="1388968" y="10052031"/>
                  <a:pt x="1326980" y="9979772"/>
                  <a:pt x="1275326" y="9897192"/>
                </a:cubicBezTo>
                <a:cubicBezTo>
                  <a:pt x="1213340" y="9824930"/>
                  <a:pt x="1172015" y="9742350"/>
                  <a:pt x="1151353" y="9690735"/>
                </a:cubicBezTo>
                <a:cubicBezTo>
                  <a:pt x="1110031" y="9639123"/>
                  <a:pt x="1068707" y="9577190"/>
                  <a:pt x="1048043" y="9525574"/>
                </a:cubicBezTo>
                <a:lnTo>
                  <a:pt x="1037713" y="9515253"/>
                </a:lnTo>
                <a:cubicBezTo>
                  <a:pt x="1027381" y="9504928"/>
                  <a:pt x="1027381" y="9504928"/>
                  <a:pt x="1027381" y="9494606"/>
                </a:cubicBezTo>
                <a:cubicBezTo>
                  <a:pt x="924071" y="9350090"/>
                  <a:pt x="872417" y="9226216"/>
                  <a:pt x="800101" y="9071380"/>
                </a:cubicBezTo>
                <a:lnTo>
                  <a:pt x="769108" y="9102346"/>
                </a:lnTo>
                <a:cubicBezTo>
                  <a:pt x="748444" y="9092025"/>
                  <a:pt x="738113" y="9071378"/>
                  <a:pt x="717451" y="9050732"/>
                </a:cubicBezTo>
                <a:cubicBezTo>
                  <a:pt x="727783" y="9061056"/>
                  <a:pt x="727783" y="9071378"/>
                  <a:pt x="727783" y="9071378"/>
                </a:cubicBezTo>
                <a:cubicBezTo>
                  <a:pt x="738113" y="9081700"/>
                  <a:pt x="738113" y="9081700"/>
                  <a:pt x="738113" y="9092025"/>
                </a:cubicBezTo>
                <a:lnTo>
                  <a:pt x="727783" y="9081700"/>
                </a:lnTo>
                <a:cubicBezTo>
                  <a:pt x="717451" y="9071380"/>
                  <a:pt x="717451" y="9061056"/>
                  <a:pt x="717451" y="9061056"/>
                </a:cubicBezTo>
                <a:lnTo>
                  <a:pt x="707120" y="9050734"/>
                </a:lnTo>
                <a:cubicBezTo>
                  <a:pt x="696790" y="9030088"/>
                  <a:pt x="686458" y="9009442"/>
                  <a:pt x="676127" y="8999120"/>
                </a:cubicBezTo>
                <a:lnTo>
                  <a:pt x="676127" y="8988798"/>
                </a:lnTo>
                <a:lnTo>
                  <a:pt x="676127" y="8978474"/>
                </a:lnTo>
                <a:lnTo>
                  <a:pt x="683875" y="8978474"/>
                </a:lnTo>
                <a:lnTo>
                  <a:pt x="686458" y="8988795"/>
                </a:lnTo>
                <a:lnTo>
                  <a:pt x="686458" y="8978476"/>
                </a:lnTo>
                <a:lnTo>
                  <a:pt x="683875" y="8978474"/>
                </a:lnTo>
                <a:lnTo>
                  <a:pt x="681293" y="8968152"/>
                </a:lnTo>
                <a:cubicBezTo>
                  <a:pt x="681292" y="8962992"/>
                  <a:pt x="681292" y="8957829"/>
                  <a:pt x="676127" y="8947508"/>
                </a:cubicBezTo>
                <a:cubicBezTo>
                  <a:pt x="686458" y="8916540"/>
                  <a:pt x="707120" y="8978474"/>
                  <a:pt x="727783" y="8978476"/>
                </a:cubicBezTo>
                <a:cubicBezTo>
                  <a:pt x="707122" y="8926862"/>
                  <a:pt x="717451" y="8916540"/>
                  <a:pt x="707120" y="8895896"/>
                </a:cubicBezTo>
                <a:lnTo>
                  <a:pt x="717451" y="8885571"/>
                </a:lnTo>
                <a:lnTo>
                  <a:pt x="707120" y="8885571"/>
                </a:lnTo>
                <a:lnTo>
                  <a:pt x="707120" y="8875250"/>
                </a:lnTo>
                <a:cubicBezTo>
                  <a:pt x="696791" y="8864928"/>
                  <a:pt x="696791" y="8864928"/>
                  <a:pt x="707122" y="8864925"/>
                </a:cubicBezTo>
                <a:cubicBezTo>
                  <a:pt x="707122" y="8861484"/>
                  <a:pt x="707122" y="8858044"/>
                  <a:pt x="707123" y="8854604"/>
                </a:cubicBezTo>
                <a:cubicBezTo>
                  <a:pt x="665801" y="8782344"/>
                  <a:pt x="624473" y="8720408"/>
                  <a:pt x="645137" y="8699764"/>
                </a:cubicBezTo>
                <a:lnTo>
                  <a:pt x="655465" y="8699762"/>
                </a:lnTo>
                <a:cubicBezTo>
                  <a:pt x="645137" y="8699764"/>
                  <a:pt x="645136" y="8689440"/>
                  <a:pt x="645136" y="8689440"/>
                </a:cubicBezTo>
                <a:cubicBezTo>
                  <a:pt x="634807" y="8689443"/>
                  <a:pt x="634804" y="8668796"/>
                  <a:pt x="624473" y="8658474"/>
                </a:cubicBezTo>
                <a:cubicBezTo>
                  <a:pt x="624472" y="8648150"/>
                  <a:pt x="624472" y="8648150"/>
                  <a:pt x="634804" y="8648150"/>
                </a:cubicBezTo>
                <a:cubicBezTo>
                  <a:pt x="603811" y="8637828"/>
                  <a:pt x="572818" y="8575892"/>
                  <a:pt x="541826" y="8493312"/>
                </a:cubicBezTo>
                <a:cubicBezTo>
                  <a:pt x="510832" y="8410731"/>
                  <a:pt x="500500" y="8328149"/>
                  <a:pt x="490171" y="8276537"/>
                </a:cubicBezTo>
                <a:close/>
                <a:moveTo>
                  <a:pt x="806632" y="8255612"/>
                </a:moveTo>
                <a:lnTo>
                  <a:pt x="850907" y="8343801"/>
                </a:lnTo>
                <a:cubicBezTo>
                  <a:pt x="869095" y="8411044"/>
                  <a:pt x="903518" y="8502760"/>
                  <a:pt x="935992" y="8551696"/>
                </a:cubicBezTo>
                <a:cubicBezTo>
                  <a:pt x="936073" y="8511982"/>
                  <a:pt x="954359" y="8529584"/>
                  <a:pt x="969526" y="8533143"/>
                </a:cubicBezTo>
                <a:lnTo>
                  <a:pt x="976687" y="8531121"/>
                </a:lnTo>
                <a:lnTo>
                  <a:pt x="917057" y="8420546"/>
                </a:lnTo>
                <a:cubicBezTo>
                  <a:pt x="892441" y="8373114"/>
                  <a:pt x="867602" y="8321903"/>
                  <a:pt x="844099" y="8265042"/>
                </a:cubicBezTo>
                <a:cubicBezTo>
                  <a:pt x="840083" y="8281989"/>
                  <a:pt x="820424" y="8263022"/>
                  <a:pt x="808037" y="8255841"/>
                </a:cubicBezTo>
                <a:close/>
                <a:moveTo>
                  <a:pt x="2503470" y="8056143"/>
                </a:moveTo>
                <a:lnTo>
                  <a:pt x="2519093" y="8080730"/>
                </a:lnTo>
                <a:cubicBezTo>
                  <a:pt x="2512766" y="8074404"/>
                  <a:pt x="2506439" y="8064915"/>
                  <a:pt x="2503277" y="8057009"/>
                </a:cubicBezTo>
                <a:cubicBezTo>
                  <a:pt x="2503342" y="8056721"/>
                  <a:pt x="2503406" y="8056431"/>
                  <a:pt x="2503470" y="8056143"/>
                </a:cubicBezTo>
                <a:close/>
                <a:moveTo>
                  <a:pt x="764668" y="8009342"/>
                </a:moveTo>
                <a:lnTo>
                  <a:pt x="763417" y="8021661"/>
                </a:lnTo>
                <a:cubicBezTo>
                  <a:pt x="796582" y="8062913"/>
                  <a:pt x="800495" y="8106791"/>
                  <a:pt x="834965" y="8162667"/>
                </a:cubicBezTo>
                <a:cubicBezTo>
                  <a:pt x="834830" y="8243760"/>
                  <a:pt x="875959" y="8291669"/>
                  <a:pt x="931577" y="8419358"/>
                </a:cubicBezTo>
                <a:cubicBezTo>
                  <a:pt x="938237" y="8411388"/>
                  <a:pt x="943885" y="8412724"/>
                  <a:pt x="948700" y="8415056"/>
                </a:cubicBezTo>
                <a:lnTo>
                  <a:pt x="953120" y="8415668"/>
                </a:lnTo>
                <a:lnTo>
                  <a:pt x="913409" y="8298012"/>
                </a:lnTo>
                <a:cubicBezTo>
                  <a:pt x="878441" y="8218455"/>
                  <a:pt x="830095" y="8138715"/>
                  <a:pt x="780862" y="8043854"/>
                </a:cubicBezTo>
                <a:close/>
                <a:moveTo>
                  <a:pt x="2215406" y="7954197"/>
                </a:moveTo>
                <a:cubicBezTo>
                  <a:pt x="2215409" y="7966851"/>
                  <a:pt x="2215409" y="7966851"/>
                  <a:pt x="2228060" y="7966851"/>
                </a:cubicBezTo>
                <a:cubicBezTo>
                  <a:pt x="2215408" y="7979505"/>
                  <a:pt x="2202754" y="7966848"/>
                  <a:pt x="2215406" y="7954197"/>
                </a:cubicBezTo>
                <a:close/>
                <a:moveTo>
                  <a:pt x="3442472" y="7922889"/>
                </a:moveTo>
                <a:lnTo>
                  <a:pt x="3452306" y="7931229"/>
                </a:lnTo>
                <a:cubicBezTo>
                  <a:pt x="3447140" y="7931228"/>
                  <a:pt x="3444560" y="7928648"/>
                  <a:pt x="3443267" y="7926066"/>
                </a:cubicBezTo>
                <a:close/>
                <a:moveTo>
                  <a:pt x="633680" y="7810980"/>
                </a:moveTo>
                <a:lnTo>
                  <a:pt x="657178" y="7880034"/>
                </a:lnTo>
                <a:lnTo>
                  <a:pt x="662339" y="7894485"/>
                </a:lnTo>
                <a:lnTo>
                  <a:pt x="663355" y="7877766"/>
                </a:lnTo>
                <a:lnTo>
                  <a:pt x="662722" y="7877663"/>
                </a:lnTo>
                <a:close/>
                <a:moveTo>
                  <a:pt x="2312033" y="7793150"/>
                </a:moveTo>
                <a:lnTo>
                  <a:pt x="2329289" y="7802352"/>
                </a:lnTo>
                <a:cubicBezTo>
                  <a:pt x="2316636" y="7802355"/>
                  <a:pt x="2329290" y="7815009"/>
                  <a:pt x="2329290" y="7827662"/>
                </a:cubicBezTo>
                <a:lnTo>
                  <a:pt x="2316635" y="7815006"/>
                </a:lnTo>
                <a:lnTo>
                  <a:pt x="2316636" y="7802355"/>
                </a:lnTo>
                <a:close/>
                <a:moveTo>
                  <a:pt x="2296450" y="7769516"/>
                </a:moveTo>
                <a:lnTo>
                  <a:pt x="2303980" y="7777047"/>
                </a:lnTo>
                <a:lnTo>
                  <a:pt x="2312033" y="7793150"/>
                </a:lnTo>
                <a:lnTo>
                  <a:pt x="2308530" y="7791284"/>
                </a:lnTo>
                <a:close/>
                <a:moveTo>
                  <a:pt x="2276478" y="7726433"/>
                </a:moveTo>
                <a:lnTo>
                  <a:pt x="2286584" y="7751738"/>
                </a:lnTo>
                <a:lnTo>
                  <a:pt x="2296450" y="7769516"/>
                </a:lnTo>
                <a:lnTo>
                  <a:pt x="2291328" y="7764395"/>
                </a:lnTo>
                <a:cubicBezTo>
                  <a:pt x="2291328" y="7751738"/>
                  <a:pt x="2278673" y="7739090"/>
                  <a:pt x="2266022" y="7726434"/>
                </a:cubicBezTo>
                <a:close/>
                <a:moveTo>
                  <a:pt x="2268472" y="7706363"/>
                </a:moveTo>
                <a:lnTo>
                  <a:pt x="2278674" y="7726434"/>
                </a:lnTo>
                <a:lnTo>
                  <a:pt x="2276478" y="7726433"/>
                </a:lnTo>
                <a:close/>
                <a:moveTo>
                  <a:pt x="3206446" y="7625214"/>
                </a:moveTo>
                <a:lnTo>
                  <a:pt x="3235355" y="7673157"/>
                </a:lnTo>
                <a:cubicBezTo>
                  <a:pt x="3235355" y="7683482"/>
                  <a:pt x="3235355" y="7683482"/>
                  <a:pt x="3245688" y="7693805"/>
                </a:cubicBezTo>
                <a:cubicBezTo>
                  <a:pt x="3245688" y="7704126"/>
                  <a:pt x="3256018" y="7704129"/>
                  <a:pt x="3256018" y="7704129"/>
                </a:cubicBezTo>
                <a:cubicBezTo>
                  <a:pt x="3276682" y="7755744"/>
                  <a:pt x="3318005" y="7817678"/>
                  <a:pt x="3359327" y="7869293"/>
                </a:cubicBezTo>
                <a:cubicBezTo>
                  <a:pt x="3379990" y="7920902"/>
                  <a:pt x="3421314" y="8003487"/>
                  <a:pt x="3483299" y="8075745"/>
                </a:cubicBezTo>
                <a:cubicBezTo>
                  <a:pt x="3534956" y="8158326"/>
                  <a:pt x="3596940" y="8230581"/>
                  <a:pt x="3638266" y="8271875"/>
                </a:cubicBezTo>
                <a:lnTo>
                  <a:pt x="3778586" y="8450318"/>
                </a:lnTo>
                <a:lnTo>
                  <a:pt x="3799856" y="8410686"/>
                </a:lnTo>
                <a:lnTo>
                  <a:pt x="3796932" y="8407347"/>
                </a:lnTo>
                <a:lnTo>
                  <a:pt x="3739514" y="8350320"/>
                </a:lnTo>
                <a:cubicBezTo>
                  <a:pt x="3718596" y="8331752"/>
                  <a:pt x="3703464" y="8307914"/>
                  <a:pt x="3695316" y="8279910"/>
                </a:cubicBezTo>
                <a:cubicBezTo>
                  <a:pt x="3694896" y="8262531"/>
                  <a:pt x="3694476" y="8245152"/>
                  <a:pt x="3694056" y="8227773"/>
                </a:cubicBezTo>
                <a:lnTo>
                  <a:pt x="3682170" y="8203487"/>
                </a:lnTo>
                <a:cubicBezTo>
                  <a:pt x="3669258" y="8181552"/>
                  <a:pt x="3653760" y="8158323"/>
                  <a:pt x="3638266" y="8137679"/>
                </a:cubicBezTo>
                <a:cubicBezTo>
                  <a:pt x="3596942" y="8096387"/>
                  <a:pt x="3565948" y="8065419"/>
                  <a:pt x="3545285" y="8065419"/>
                </a:cubicBezTo>
                <a:cubicBezTo>
                  <a:pt x="3545285" y="8055099"/>
                  <a:pt x="3534954" y="8055099"/>
                  <a:pt x="3534954" y="8055099"/>
                </a:cubicBezTo>
                <a:cubicBezTo>
                  <a:pt x="3534956" y="8044778"/>
                  <a:pt x="3524626" y="8034453"/>
                  <a:pt x="3514292" y="8034456"/>
                </a:cubicBezTo>
                <a:lnTo>
                  <a:pt x="3514294" y="8044778"/>
                </a:lnTo>
                <a:lnTo>
                  <a:pt x="3524627" y="8055099"/>
                </a:lnTo>
                <a:lnTo>
                  <a:pt x="3524626" y="8065421"/>
                </a:lnTo>
                <a:cubicBezTo>
                  <a:pt x="3493634" y="8024127"/>
                  <a:pt x="3503962" y="8024130"/>
                  <a:pt x="3483299" y="7993160"/>
                </a:cubicBezTo>
                <a:lnTo>
                  <a:pt x="3493632" y="8003487"/>
                </a:lnTo>
                <a:lnTo>
                  <a:pt x="3493634" y="7993163"/>
                </a:lnTo>
                <a:lnTo>
                  <a:pt x="3493632" y="7982841"/>
                </a:lnTo>
                <a:cubicBezTo>
                  <a:pt x="3493632" y="7982841"/>
                  <a:pt x="3503962" y="8003487"/>
                  <a:pt x="3514292" y="7993163"/>
                </a:cubicBezTo>
                <a:cubicBezTo>
                  <a:pt x="3493632" y="7962194"/>
                  <a:pt x="3472968" y="7931226"/>
                  <a:pt x="3462640" y="7941551"/>
                </a:cubicBezTo>
                <a:cubicBezTo>
                  <a:pt x="3462640" y="7941551"/>
                  <a:pt x="3462640" y="7931229"/>
                  <a:pt x="3452306" y="7931229"/>
                </a:cubicBezTo>
                <a:lnTo>
                  <a:pt x="3452306" y="7920905"/>
                </a:lnTo>
                <a:lnTo>
                  <a:pt x="3452306" y="7910582"/>
                </a:lnTo>
                <a:lnTo>
                  <a:pt x="3441976" y="7920905"/>
                </a:lnTo>
                <a:cubicBezTo>
                  <a:pt x="3442140" y="7921568"/>
                  <a:pt x="3442308" y="7922228"/>
                  <a:pt x="3442472" y="7922889"/>
                </a:cubicBezTo>
                <a:lnTo>
                  <a:pt x="3400006" y="7886874"/>
                </a:lnTo>
                <a:cubicBezTo>
                  <a:pt x="3349642" y="7837032"/>
                  <a:pt x="3305090" y="7771226"/>
                  <a:pt x="3266348" y="7693805"/>
                </a:cubicBezTo>
                <a:cubicBezTo>
                  <a:pt x="3266348" y="7693805"/>
                  <a:pt x="3266348" y="7683482"/>
                  <a:pt x="3256018" y="7683485"/>
                </a:cubicBezTo>
                <a:cubicBezTo>
                  <a:pt x="3256018" y="7673160"/>
                  <a:pt x="3245690" y="7662839"/>
                  <a:pt x="3245690" y="7662839"/>
                </a:cubicBezTo>
                <a:lnTo>
                  <a:pt x="3245688" y="7673162"/>
                </a:lnTo>
                <a:lnTo>
                  <a:pt x="3233204" y="7637403"/>
                </a:lnTo>
                <a:close/>
                <a:moveTo>
                  <a:pt x="3217256" y="7536666"/>
                </a:moveTo>
                <a:lnTo>
                  <a:pt x="3221402" y="7555992"/>
                </a:lnTo>
                <a:lnTo>
                  <a:pt x="3225024" y="7559613"/>
                </a:lnTo>
                <a:lnTo>
                  <a:pt x="3225026" y="7566182"/>
                </a:lnTo>
                <a:lnTo>
                  <a:pt x="3222992" y="7563411"/>
                </a:lnTo>
                <a:lnTo>
                  <a:pt x="3228820" y="7590581"/>
                </a:lnTo>
                <a:lnTo>
                  <a:pt x="3235356" y="7590581"/>
                </a:lnTo>
                <a:cubicBezTo>
                  <a:pt x="3235356" y="7580259"/>
                  <a:pt x="3235356" y="7580259"/>
                  <a:pt x="3225026" y="7569936"/>
                </a:cubicBezTo>
                <a:lnTo>
                  <a:pt x="3225026" y="7566182"/>
                </a:lnTo>
                <a:lnTo>
                  <a:pt x="3235356" y="7580259"/>
                </a:lnTo>
                <a:close/>
                <a:moveTo>
                  <a:pt x="576853" y="7500311"/>
                </a:moveTo>
                <a:lnTo>
                  <a:pt x="576661" y="7505700"/>
                </a:lnTo>
                <a:lnTo>
                  <a:pt x="577664" y="7506488"/>
                </a:lnTo>
                <a:lnTo>
                  <a:pt x="580756" y="7503573"/>
                </a:lnTo>
                <a:close/>
                <a:moveTo>
                  <a:pt x="3058964" y="7357428"/>
                </a:moveTo>
                <a:lnTo>
                  <a:pt x="3110093" y="7465419"/>
                </a:lnTo>
                <a:lnTo>
                  <a:pt x="3147628" y="7527669"/>
                </a:lnTo>
                <a:close/>
                <a:moveTo>
                  <a:pt x="1935281" y="7216802"/>
                </a:moveTo>
                <a:lnTo>
                  <a:pt x="1937030" y="7220294"/>
                </a:lnTo>
                <a:lnTo>
                  <a:pt x="1937028" y="7232948"/>
                </a:lnTo>
                <a:lnTo>
                  <a:pt x="1937028" y="7245597"/>
                </a:lnTo>
                <a:cubicBezTo>
                  <a:pt x="1936446" y="7235999"/>
                  <a:pt x="1935863" y="7226400"/>
                  <a:pt x="1935281" y="7216802"/>
                </a:cubicBezTo>
                <a:close/>
                <a:moveTo>
                  <a:pt x="2891850" y="7157030"/>
                </a:moveTo>
                <a:lnTo>
                  <a:pt x="2894432" y="7157030"/>
                </a:lnTo>
                <a:cubicBezTo>
                  <a:pt x="2894430" y="7160471"/>
                  <a:pt x="2894430" y="7163912"/>
                  <a:pt x="2894429" y="7167353"/>
                </a:cubicBezTo>
                <a:close/>
                <a:moveTo>
                  <a:pt x="404158" y="7137999"/>
                </a:moveTo>
                <a:lnTo>
                  <a:pt x="401374" y="7139007"/>
                </a:lnTo>
                <a:cubicBezTo>
                  <a:pt x="401072" y="7144677"/>
                  <a:pt x="403046" y="7156478"/>
                  <a:pt x="408661" y="7178088"/>
                </a:cubicBezTo>
                <a:lnTo>
                  <a:pt x="412363" y="7181183"/>
                </a:lnTo>
                <a:close/>
                <a:moveTo>
                  <a:pt x="2918046" y="7071500"/>
                </a:moveTo>
                <a:lnTo>
                  <a:pt x="2915096" y="7074452"/>
                </a:lnTo>
                <a:cubicBezTo>
                  <a:pt x="2925426" y="7095093"/>
                  <a:pt x="2915093" y="7105416"/>
                  <a:pt x="2935756" y="7157030"/>
                </a:cubicBezTo>
                <a:cubicBezTo>
                  <a:pt x="2915093" y="7157027"/>
                  <a:pt x="2894432" y="7095093"/>
                  <a:pt x="2884102" y="7126059"/>
                </a:cubicBezTo>
                <a:cubicBezTo>
                  <a:pt x="2889268" y="7136382"/>
                  <a:pt x="2889268" y="7141548"/>
                  <a:pt x="2889268" y="7146705"/>
                </a:cubicBezTo>
                <a:lnTo>
                  <a:pt x="2891850" y="7157030"/>
                </a:lnTo>
                <a:lnTo>
                  <a:pt x="2884104" y="7157030"/>
                </a:lnTo>
                <a:lnTo>
                  <a:pt x="2884104" y="7167354"/>
                </a:lnTo>
                <a:lnTo>
                  <a:pt x="2884104" y="7177674"/>
                </a:lnTo>
                <a:cubicBezTo>
                  <a:pt x="2894432" y="7187996"/>
                  <a:pt x="2904764" y="7208642"/>
                  <a:pt x="2915096" y="7229289"/>
                </a:cubicBezTo>
                <a:lnTo>
                  <a:pt x="2925425" y="7239612"/>
                </a:lnTo>
                <a:cubicBezTo>
                  <a:pt x="2925425" y="7239612"/>
                  <a:pt x="2925425" y="7249932"/>
                  <a:pt x="2935756" y="7260254"/>
                </a:cubicBezTo>
                <a:cubicBezTo>
                  <a:pt x="2935756" y="7260254"/>
                  <a:pt x="2935757" y="7270577"/>
                  <a:pt x="2946089" y="7270578"/>
                </a:cubicBezTo>
                <a:cubicBezTo>
                  <a:pt x="2946089" y="7260257"/>
                  <a:pt x="2946089" y="7260257"/>
                  <a:pt x="2935752" y="7249928"/>
                </a:cubicBezTo>
                <a:cubicBezTo>
                  <a:pt x="2935752" y="7249928"/>
                  <a:pt x="2935756" y="7239608"/>
                  <a:pt x="2925425" y="7229289"/>
                </a:cubicBezTo>
                <a:cubicBezTo>
                  <a:pt x="2946086" y="7249932"/>
                  <a:pt x="2956418" y="7270577"/>
                  <a:pt x="2977079" y="7280901"/>
                </a:cubicBezTo>
                <a:cubicBezTo>
                  <a:pt x="2982244" y="7275741"/>
                  <a:pt x="2982248" y="7265417"/>
                  <a:pt x="2984831" y="7257674"/>
                </a:cubicBezTo>
                <a:lnTo>
                  <a:pt x="3003734" y="7251377"/>
                </a:lnTo>
                <a:lnTo>
                  <a:pt x="2942093" y="7133019"/>
                </a:lnTo>
                <a:close/>
                <a:moveTo>
                  <a:pt x="2915093" y="7063944"/>
                </a:moveTo>
                <a:lnTo>
                  <a:pt x="2915093" y="7064126"/>
                </a:lnTo>
                <a:lnTo>
                  <a:pt x="2915164" y="7064126"/>
                </a:lnTo>
                <a:cubicBezTo>
                  <a:pt x="2915140" y="7064067"/>
                  <a:pt x="2915117" y="7064004"/>
                  <a:pt x="2915093" y="7063944"/>
                </a:cubicBezTo>
                <a:close/>
                <a:moveTo>
                  <a:pt x="2849382" y="6895821"/>
                </a:moveTo>
                <a:lnTo>
                  <a:pt x="2848265" y="6901058"/>
                </a:lnTo>
                <a:cubicBezTo>
                  <a:pt x="2849880" y="6910896"/>
                  <a:pt x="2854398" y="6922835"/>
                  <a:pt x="2860859" y="6936381"/>
                </a:cubicBezTo>
                <a:lnTo>
                  <a:pt x="2875322" y="6962196"/>
                </a:lnTo>
                <a:close/>
                <a:moveTo>
                  <a:pt x="385241" y="6674598"/>
                </a:moveTo>
                <a:lnTo>
                  <a:pt x="385633" y="6679001"/>
                </a:lnTo>
                <a:cubicBezTo>
                  <a:pt x="387103" y="6695453"/>
                  <a:pt x="388735" y="6713736"/>
                  <a:pt x="390691" y="6735674"/>
                </a:cubicBezTo>
                <a:cubicBezTo>
                  <a:pt x="456884" y="6899270"/>
                  <a:pt x="457918" y="7076084"/>
                  <a:pt x="520061" y="7276901"/>
                </a:cubicBezTo>
                <a:cubicBezTo>
                  <a:pt x="513403" y="7284867"/>
                  <a:pt x="523978" y="7320776"/>
                  <a:pt x="526588" y="7350027"/>
                </a:cubicBezTo>
                <a:cubicBezTo>
                  <a:pt x="541213" y="7348715"/>
                  <a:pt x="546431" y="7407216"/>
                  <a:pt x="553093" y="7399248"/>
                </a:cubicBezTo>
                <a:cubicBezTo>
                  <a:pt x="557144" y="7362027"/>
                  <a:pt x="537298" y="7304837"/>
                  <a:pt x="566546" y="7302215"/>
                </a:cubicBezTo>
                <a:cubicBezTo>
                  <a:pt x="606235" y="7416590"/>
                  <a:pt x="611455" y="7475093"/>
                  <a:pt x="616675" y="7533593"/>
                </a:cubicBezTo>
                <a:cubicBezTo>
                  <a:pt x="617654" y="7544562"/>
                  <a:pt x="616568" y="7547885"/>
                  <a:pt x="614161" y="7546719"/>
                </a:cubicBezTo>
                <a:lnTo>
                  <a:pt x="609307" y="7540304"/>
                </a:lnTo>
                <a:lnTo>
                  <a:pt x="620531" y="7570017"/>
                </a:lnTo>
                <a:cubicBezTo>
                  <a:pt x="629965" y="7593128"/>
                  <a:pt x="639236" y="7614408"/>
                  <a:pt x="648503" y="7635690"/>
                </a:cubicBezTo>
                <a:cubicBezTo>
                  <a:pt x="641845" y="7643657"/>
                  <a:pt x="624608" y="7615721"/>
                  <a:pt x="627220" y="7644969"/>
                </a:cubicBezTo>
                <a:cubicBezTo>
                  <a:pt x="660385" y="7686221"/>
                  <a:pt x="664298" y="7730099"/>
                  <a:pt x="698768" y="7785975"/>
                </a:cubicBezTo>
                <a:cubicBezTo>
                  <a:pt x="698737" y="7806249"/>
                  <a:pt x="701281" y="7824449"/>
                  <a:pt x="705985" y="7842338"/>
                </a:cubicBezTo>
                <a:lnTo>
                  <a:pt x="719231" y="7878117"/>
                </a:lnTo>
                <a:lnTo>
                  <a:pt x="727777" y="7870068"/>
                </a:lnTo>
                <a:cubicBezTo>
                  <a:pt x="747623" y="7927256"/>
                  <a:pt x="766162" y="7969820"/>
                  <a:pt x="784700" y="8012382"/>
                </a:cubicBezTo>
                <a:lnTo>
                  <a:pt x="781397" y="8012736"/>
                </a:lnTo>
                <a:lnTo>
                  <a:pt x="795380" y="8042666"/>
                </a:lnTo>
                <a:cubicBezTo>
                  <a:pt x="808700" y="8026727"/>
                  <a:pt x="817970" y="8048009"/>
                  <a:pt x="824632" y="8040041"/>
                </a:cubicBezTo>
                <a:cubicBezTo>
                  <a:pt x="870980" y="8146451"/>
                  <a:pt x="930647" y="8236919"/>
                  <a:pt x="983654" y="8335359"/>
                </a:cubicBezTo>
                <a:lnTo>
                  <a:pt x="1037300" y="8419382"/>
                </a:lnTo>
                <a:lnTo>
                  <a:pt x="972338" y="8288648"/>
                </a:lnTo>
                <a:cubicBezTo>
                  <a:pt x="825709" y="7969799"/>
                  <a:pt x="696904" y="7641530"/>
                  <a:pt x="580660" y="7306610"/>
                </a:cubicBezTo>
                <a:cubicBezTo>
                  <a:pt x="536000" y="7176582"/>
                  <a:pt x="492655" y="7046556"/>
                  <a:pt x="452429" y="6916037"/>
                </a:cubicBezTo>
                <a:close/>
                <a:moveTo>
                  <a:pt x="2698146" y="6455090"/>
                </a:moveTo>
                <a:cubicBezTo>
                  <a:pt x="2708474" y="6506702"/>
                  <a:pt x="2718806" y="6589286"/>
                  <a:pt x="2749798" y="6671862"/>
                </a:cubicBezTo>
                <a:cubicBezTo>
                  <a:pt x="2765296" y="6713156"/>
                  <a:pt x="2780790" y="6749286"/>
                  <a:pt x="2796288" y="6776381"/>
                </a:cubicBezTo>
                <a:lnTo>
                  <a:pt x="2807396" y="6788406"/>
                </a:lnTo>
                <a:lnTo>
                  <a:pt x="2758038" y="6662120"/>
                </a:lnTo>
                <a:lnTo>
                  <a:pt x="2702070" y="6463778"/>
                </a:lnTo>
                <a:close/>
                <a:moveTo>
                  <a:pt x="1578806" y="6051324"/>
                </a:moveTo>
                <a:lnTo>
                  <a:pt x="1578095" y="6052265"/>
                </a:lnTo>
                <a:lnTo>
                  <a:pt x="1579340" y="6053457"/>
                </a:lnTo>
                <a:close/>
                <a:moveTo>
                  <a:pt x="3157676" y="5831444"/>
                </a:moveTo>
                <a:lnTo>
                  <a:pt x="3167154" y="5897463"/>
                </a:lnTo>
                <a:lnTo>
                  <a:pt x="3179536" y="5918415"/>
                </a:lnTo>
                <a:lnTo>
                  <a:pt x="3183389" y="5926548"/>
                </a:lnTo>
                <a:close/>
                <a:moveTo>
                  <a:pt x="1608035" y="5790446"/>
                </a:moveTo>
                <a:lnTo>
                  <a:pt x="1608806" y="5802330"/>
                </a:lnTo>
                <a:lnTo>
                  <a:pt x="1608036" y="5803103"/>
                </a:lnTo>
                <a:close/>
                <a:moveTo>
                  <a:pt x="1620094" y="5777793"/>
                </a:moveTo>
                <a:lnTo>
                  <a:pt x="1620690" y="5777793"/>
                </a:lnTo>
                <a:lnTo>
                  <a:pt x="1620689" y="5790449"/>
                </a:lnTo>
                <a:cubicBezTo>
                  <a:pt x="1620491" y="5786231"/>
                  <a:pt x="1620293" y="5782011"/>
                  <a:pt x="1620094" y="5777793"/>
                </a:cubicBezTo>
                <a:close/>
                <a:moveTo>
                  <a:pt x="987599" y="5658741"/>
                </a:moveTo>
                <a:lnTo>
                  <a:pt x="986690" y="5662070"/>
                </a:lnTo>
                <a:lnTo>
                  <a:pt x="988007" y="5663910"/>
                </a:lnTo>
                <a:close/>
                <a:moveTo>
                  <a:pt x="179521" y="5654276"/>
                </a:moveTo>
                <a:cubicBezTo>
                  <a:pt x="176486" y="5655123"/>
                  <a:pt x="173573" y="5658609"/>
                  <a:pt x="170569" y="5666250"/>
                </a:cubicBezTo>
                <a:cubicBezTo>
                  <a:pt x="185059" y="5746032"/>
                  <a:pt x="196937" y="5796564"/>
                  <a:pt x="203464" y="5869691"/>
                </a:cubicBezTo>
                <a:cubicBezTo>
                  <a:pt x="208685" y="5928194"/>
                  <a:pt x="221867" y="5993349"/>
                  <a:pt x="224344" y="6103695"/>
                </a:cubicBezTo>
                <a:cubicBezTo>
                  <a:pt x="224344" y="6103695"/>
                  <a:pt x="209719" y="6105008"/>
                  <a:pt x="211024" y="6119633"/>
                </a:cubicBezTo>
                <a:cubicBezTo>
                  <a:pt x="233477" y="6206070"/>
                  <a:pt x="224212" y="6184790"/>
                  <a:pt x="245357" y="6256604"/>
                </a:cubicBezTo>
                <a:cubicBezTo>
                  <a:pt x="247969" y="6285855"/>
                  <a:pt x="250579" y="6315104"/>
                  <a:pt x="254494" y="6358982"/>
                </a:cubicBezTo>
                <a:lnTo>
                  <a:pt x="266614" y="6397541"/>
                </a:lnTo>
                <a:lnTo>
                  <a:pt x="260396" y="6349323"/>
                </a:lnTo>
                <a:cubicBezTo>
                  <a:pt x="254164" y="6300128"/>
                  <a:pt x="247931" y="6250931"/>
                  <a:pt x="238729" y="6189101"/>
                </a:cubicBezTo>
                <a:cubicBezTo>
                  <a:pt x="242779" y="6151881"/>
                  <a:pt x="248135" y="6129287"/>
                  <a:pt x="245522" y="6100037"/>
                </a:cubicBezTo>
                <a:cubicBezTo>
                  <a:pt x="235667" y="6030894"/>
                  <a:pt x="227479" y="5959761"/>
                  <a:pt x="221948" y="5887466"/>
                </a:cubicBezTo>
                <a:lnTo>
                  <a:pt x="214630" y="5676320"/>
                </a:lnTo>
                <a:lnTo>
                  <a:pt x="200849" y="5668716"/>
                </a:lnTo>
                <a:cubicBezTo>
                  <a:pt x="192137" y="5661435"/>
                  <a:pt x="185588" y="5652579"/>
                  <a:pt x="179521" y="5654276"/>
                </a:cubicBezTo>
                <a:close/>
                <a:moveTo>
                  <a:pt x="207314" y="5516166"/>
                </a:moveTo>
                <a:lnTo>
                  <a:pt x="207958" y="5528946"/>
                </a:lnTo>
                <a:lnTo>
                  <a:pt x="211150" y="5547980"/>
                </a:lnTo>
                <a:lnTo>
                  <a:pt x="210569" y="5526123"/>
                </a:lnTo>
                <a:close/>
                <a:moveTo>
                  <a:pt x="192424" y="5257115"/>
                </a:moveTo>
                <a:lnTo>
                  <a:pt x="193628" y="5272157"/>
                </a:lnTo>
                <a:lnTo>
                  <a:pt x="191896" y="5279469"/>
                </a:lnTo>
                <a:lnTo>
                  <a:pt x="193616" y="5297948"/>
                </a:lnTo>
                <a:lnTo>
                  <a:pt x="196162" y="5303711"/>
                </a:lnTo>
                <a:lnTo>
                  <a:pt x="193628" y="5272157"/>
                </a:lnTo>
                <a:lnTo>
                  <a:pt x="193729" y="5271741"/>
                </a:lnTo>
                <a:cubicBezTo>
                  <a:pt x="193729" y="5271741"/>
                  <a:pt x="193729" y="5271741"/>
                  <a:pt x="192424" y="5257115"/>
                </a:cubicBezTo>
                <a:close/>
                <a:moveTo>
                  <a:pt x="167189" y="5242794"/>
                </a:moveTo>
                <a:cubicBezTo>
                  <a:pt x="165524" y="5244786"/>
                  <a:pt x="165853" y="5248443"/>
                  <a:pt x="169834" y="5251772"/>
                </a:cubicBezTo>
                <a:cubicBezTo>
                  <a:pt x="167089" y="5303616"/>
                  <a:pt x="170969" y="5367765"/>
                  <a:pt x="174181" y="5434740"/>
                </a:cubicBezTo>
                <a:lnTo>
                  <a:pt x="175744" y="5481300"/>
                </a:lnTo>
                <a:lnTo>
                  <a:pt x="176030" y="5479637"/>
                </a:lnTo>
                <a:cubicBezTo>
                  <a:pt x="178870" y="5470169"/>
                  <a:pt x="182201" y="5466183"/>
                  <a:pt x="181550" y="5458872"/>
                </a:cubicBezTo>
                <a:cubicBezTo>
                  <a:pt x="186184" y="5469513"/>
                  <a:pt x="190166" y="5472840"/>
                  <a:pt x="193984" y="5474340"/>
                </a:cubicBezTo>
                <a:lnTo>
                  <a:pt x="201959" y="5477472"/>
                </a:lnTo>
                <a:lnTo>
                  <a:pt x="196402" y="5432868"/>
                </a:lnTo>
                <a:cubicBezTo>
                  <a:pt x="189137" y="5390691"/>
                  <a:pt x="181877" y="5348513"/>
                  <a:pt x="176849" y="5308184"/>
                </a:cubicBezTo>
                <a:lnTo>
                  <a:pt x="173353" y="5243462"/>
                </a:lnTo>
                <a:close/>
                <a:moveTo>
                  <a:pt x="1645996" y="5183081"/>
                </a:moveTo>
                <a:lnTo>
                  <a:pt x="1645996" y="5195732"/>
                </a:lnTo>
                <a:lnTo>
                  <a:pt x="1633342" y="5195732"/>
                </a:lnTo>
                <a:close/>
                <a:moveTo>
                  <a:pt x="1620689" y="5043891"/>
                </a:moveTo>
                <a:cubicBezTo>
                  <a:pt x="1620690" y="5069196"/>
                  <a:pt x="1620690" y="5107157"/>
                  <a:pt x="1633343" y="5119812"/>
                </a:cubicBezTo>
                <a:cubicBezTo>
                  <a:pt x="1633342" y="5132463"/>
                  <a:pt x="1633343" y="5145120"/>
                  <a:pt x="1620690" y="5145120"/>
                </a:cubicBezTo>
                <a:cubicBezTo>
                  <a:pt x="1620689" y="5157771"/>
                  <a:pt x="1620689" y="5170424"/>
                  <a:pt x="1633342" y="5170424"/>
                </a:cubicBezTo>
                <a:cubicBezTo>
                  <a:pt x="1633343" y="5174643"/>
                  <a:pt x="1633344" y="5178861"/>
                  <a:pt x="1633343" y="5183081"/>
                </a:cubicBezTo>
                <a:cubicBezTo>
                  <a:pt x="1633343" y="5187296"/>
                  <a:pt x="1633342" y="5191514"/>
                  <a:pt x="1633342" y="5195732"/>
                </a:cubicBezTo>
                <a:lnTo>
                  <a:pt x="1633342" y="5208387"/>
                </a:lnTo>
                <a:lnTo>
                  <a:pt x="1633343" y="5221041"/>
                </a:lnTo>
                <a:lnTo>
                  <a:pt x="1645996" y="5221038"/>
                </a:lnTo>
                <a:cubicBezTo>
                  <a:pt x="1645996" y="5284307"/>
                  <a:pt x="1633343" y="5221041"/>
                  <a:pt x="1620689" y="5233692"/>
                </a:cubicBezTo>
                <a:cubicBezTo>
                  <a:pt x="1608036" y="5246345"/>
                  <a:pt x="1620690" y="5259002"/>
                  <a:pt x="1633343" y="5246346"/>
                </a:cubicBezTo>
                <a:cubicBezTo>
                  <a:pt x="1633342" y="5309613"/>
                  <a:pt x="1620689" y="5246345"/>
                  <a:pt x="1620689" y="5284307"/>
                </a:cubicBezTo>
                <a:cubicBezTo>
                  <a:pt x="1620689" y="5284307"/>
                  <a:pt x="1620689" y="5322267"/>
                  <a:pt x="1620694" y="5360228"/>
                </a:cubicBezTo>
                <a:lnTo>
                  <a:pt x="1608036" y="5372882"/>
                </a:lnTo>
                <a:cubicBezTo>
                  <a:pt x="1608036" y="5372882"/>
                  <a:pt x="1608035" y="5385537"/>
                  <a:pt x="1620689" y="5385533"/>
                </a:cubicBezTo>
                <a:lnTo>
                  <a:pt x="1608035" y="5385537"/>
                </a:lnTo>
                <a:cubicBezTo>
                  <a:pt x="1633343" y="5436149"/>
                  <a:pt x="1595381" y="5474111"/>
                  <a:pt x="1620689" y="5512071"/>
                </a:cubicBezTo>
                <a:lnTo>
                  <a:pt x="1620690" y="5524721"/>
                </a:lnTo>
                <a:lnTo>
                  <a:pt x="1620689" y="5550032"/>
                </a:lnTo>
                <a:cubicBezTo>
                  <a:pt x="1620690" y="5562681"/>
                  <a:pt x="1620690" y="5562681"/>
                  <a:pt x="1633342" y="5550032"/>
                </a:cubicBezTo>
                <a:cubicBezTo>
                  <a:pt x="1608035" y="5575335"/>
                  <a:pt x="1620690" y="5613299"/>
                  <a:pt x="1620689" y="5651259"/>
                </a:cubicBezTo>
                <a:cubicBezTo>
                  <a:pt x="1620689" y="5663913"/>
                  <a:pt x="1620689" y="5651259"/>
                  <a:pt x="1608035" y="5651259"/>
                </a:cubicBezTo>
                <a:lnTo>
                  <a:pt x="1608035" y="5663913"/>
                </a:lnTo>
                <a:cubicBezTo>
                  <a:pt x="1608035" y="5676567"/>
                  <a:pt x="1608035" y="5676567"/>
                  <a:pt x="1620689" y="5676567"/>
                </a:cubicBezTo>
                <a:lnTo>
                  <a:pt x="1620689" y="5689218"/>
                </a:lnTo>
                <a:cubicBezTo>
                  <a:pt x="1620690" y="5701871"/>
                  <a:pt x="1620690" y="5701871"/>
                  <a:pt x="1633342" y="5701869"/>
                </a:cubicBezTo>
                <a:cubicBezTo>
                  <a:pt x="1642835" y="5739831"/>
                  <a:pt x="1623851" y="5735088"/>
                  <a:pt x="1619108" y="5757035"/>
                </a:cubicBezTo>
                <a:cubicBezTo>
                  <a:pt x="1619435" y="5763954"/>
                  <a:pt x="1619766" y="5770875"/>
                  <a:pt x="1620094" y="5777793"/>
                </a:cubicBezTo>
                <a:lnTo>
                  <a:pt x="1608035" y="5777793"/>
                </a:lnTo>
                <a:lnTo>
                  <a:pt x="1608036" y="5765139"/>
                </a:lnTo>
                <a:lnTo>
                  <a:pt x="1595382" y="5714528"/>
                </a:lnTo>
                <a:cubicBezTo>
                  <a:pt x="1595382" y="5710310"/>
                  <a:pt x="1595382" y="5706092"/>
                  <a:pt x="1595386" y="5701874"/>
                </a:cubicBezTo>
                <a:lnTo>
                  <a:pt x="1582726" y="5714528"/>
                </a:lnTo>
                <a:cubicBezTo>
                  <a:pt x="1570074" y="5651259"/>
                  <a:pt x="1544766" y="5562684"/>
                  <a:pt x="1557422" y="5499417"/>
                </a:cubicBezTo>
                <a:cubicBezTo>
                  <a:pt x="1570074" y="5499414"/>
                  <a:pt x="1570078" y="5436149"/>
                  <a:pt x="1570076" y="5372882"/>
                </a:cubicBezTo>
                <a:cubicBezTo>
                  <a:pt x="1570076" y="5309618"/>
                  <a:pt x="1582726" y="5259002"/>
                  <a:pt x="1608035" y="5271653"/>
                </a:cubicBezTo>
                <a:cubicBezTo>
                  <a:pt x="1620690" y="5183081"/>
                  <a:pt x="1620690" y="5145120"/>
                  <a:pt x="1620689" y="5043891"/>
                </a:cubicBezTo>
                <a:close/>
                <a:moveTo>
                  <a:pt x="139210" y="4996022"/>
                </a:moveTo>
                <a:lnTo>
                  <a:pt x="139087" y="5001062"/>
                </a:lnTo>
                <a:cubicBezTo>
                  <a:pt x="137144" y="5033484"/>
                  <a:pt x="133681" y="5066966"/>
                  <a:pt x="127640" y="5102522"/>
                </a:cubicBezTo>
                <a:cubicBezTo>
                  <a:pt x="134267" y="5114828"/>
                  <a:pt x="139226" y="5129124"/>
                  <a:pt x="143042" y="5144790"/>
                </a:cubicBezTo>
                <a:lnTo>
                  <a:pt x="144632" y="5154192"/>
                </a:lnTo>
                <a:lnTo>
                  <a:pt x="142862" y="5083734"/>
                </a:lnTo>
                <a:lnTo>
                  <a:pt x="142894" y="5017103"/>
                </a:lnTo>
                <a:close/>
                <a:moveTo>
                  <a:pt x="2966222" y="4796178"/>
                </a:moveTo>
                <a:cubicBezTo>
                  <a:pt x="2943960" y="4811502"/>
                  <a:pt x="2946632" y="4827998"/>
                  <a:pt x="2947385" y="4848713"/>
                </a:cubicBezTo>
                <a:cubicBezTo>
                  <a:pt x="2955606" y="5132568"/>
                  <a:pt x="2968048" y="5418345"/>
                  <a:pt x="3017699" y="5700701"/>
                </a:cubicBezTo>
                <a:cubicBezTo>
                  <a:pt x="3023795" y="5754405"/>
                  <a:pt x="3046768" y="5815799"/>
                  <a:pt x="3017195" y="5858349"/>
                </a:cubicBezTo>
                <a:cubicBezTo>
                  <a:pt x="2968038" y="5932724"/>
                  <a:pt x="2999442" y="5997959"/>
                  <a:pt x="3016649" y="6072003"/>
                </a:cubicBezTo>
                <a:cubicBezTo>
                  <a:pt x="3039366" y="6212220"/>
                  <a:pt x="3071866" y="6350528"/>
                  <a:pt x="3109499" y="6487352"/>
                </a:cubicBezTo>
                <a:lnTo>
                  <a:pt x="3193523" y="6763580"/>
                </a:lnTo>
                <a:lnTo>
                  <a:pt x="3215621" y="6797463"/>
                </a:lnTo>
                <a:cubicBezTo>
                  <a:pt x="3249426" y="6839049"/>
                  <a:pt x="3282842" y="6860072"/>
                  <a:pt x="3303474" y="6938549"/>
                </a:cubicBezTo>
                <a:cubicBezTo>
                  <a:pt x="3297698" y="6953375"/>
                  <a:pt x="3281246" y="6929888"/>
                  <a:pt x="3273834" y="6927000"/>
                </a:cubicBezTo>
                <a:cubicBezTo>
                  <a:pt x="3320687" y="7047710"/>
                  <a:pt x="3343676" y="7142046"/>
                  <a:pt x="3415644" y="7264004"/>
                </a:cubicBezTo>
                <a:cubicBezTo>
                  <a:pt x="3414011" y="7246292"/>
                  <a:pt x="3425944" y="7259478"/>
                  <a:pt x="3440762" y="7265252"/>
                </a:cubicBezTo>
                <a:cubicBezTo>
                  <a:pt x="3473669" y="7312224"/>
                  <a:pt x="3484348" y="7350537"/>
                  <a:pt x="3497912" y="7381436"/>
                </a:cubicBezTo>
                <a:cubicBezTo>
                  <a:pt x="3511478" y="7412334"/>
                  <a:pt x="3529565" y="7453533"/>
                  <a:pt x="3572770" y="7495980"/>
                </a:cubicBezTo>
                <a:cubicBezTo>
                  <a:pt x="3586336" y="7526879"/>
                  <a:pt x="3568628" y="7528518"/>
                  <a:pt x="3594125" y="7572603"/>
                </a:cubicBezTo>
                <a:cubicBezTo>
                  <a:pt x="3617988" y="7598976"/>
                  <a:pt x="3619242" y="7573851"/>
                  <a:pt x="3644740" y="7617936"/>
                </a:cubicBezTo>
                <a:cubicBezTo>
                  <a:pt x="3652529" y="7663661"/>
                  <a:pt x="3707664" y="7719294"/>
                  <a:pt x="3749616" y="7786866"/>
                </a:cubicBezTo>
                <a:cubicBezTo>
                  <a:pt x="3743840" y="7801694"/>
                  <a:pt x="3785789" y="7869264"/>
                  <a:pt x="3817064" y="7898523"/>
                </a:cubicBezTo>
                <a:cubicBezTo>
                  <a:pt x="3812542" y="7888224"/>
                  <a:pt x="3812542" y="7888224"/>
                  <a:pt x="3812542" y="7888224"/>
                </a:cubicBezTo>
                <a:cubicBezTo>
                  <a:pt x="3808019" y="7877925"/>
                  <a:pt x="3800610" y="7875038"/>
                  <a:pt x="3810908" y="7870512"/>
                </a:cubicBezTo>
                <a:cubicBezTo>
                  <a:pt x="3810908" y="7870512"/>
                  <a:pt x="3815429" y="7880811"/>
                  <a:pt x="3822840" y="7883699"/>
                </a:cubicBezTo>
                <a:cubicBezTo>
                  <a:pt x="3833136" y="7879172"/>
                  <a:pt x="3833136" y="7879172"/>
                  <a:pt x="3833136" y="7879172"/>
                </a:cubicBezTo>
                <a:cubicBezTo>
                  <a:pt x="3857000" y="7905546"/>
                  <a:pt x="3848336" y="7927785"/>
                  <a:pt x="3839292" y="7907186"/>
                </a:cubicBezTo>
                <a:cubicBezTo>
                  <a:pt x="3843814" y="7917485"/>
                  <a:pt x="3843814" y="7917485"/>
                  <a:pt x="3843814" y="7917485"/>
                </a:cubicBezTo>
                <a:cubicBezTo>
                  <a:pt x="3848336" y="7927785"/>
                  <a:pt x="3845448" y="7935197"/>
                  <a:pt x="3845448" y="7935197"/>
                </a:cubicBezTo>
                <a:cubicBezTo>
                  <a:pt x="3838038" y="7932311"/>
                  <a:pt x="3833518" y="7922010"/>
                  <a:pt x="3826106" y="7919123"/>
                </a:cubicBezTo>
                <a:lnTo>
                  <a:pt x="3821928" y="7917495"/>
                </a:lnTo>
                <a:lnTo>
                  <a:pt x="4217118" y="8397302"/>
                </a:lnTo>
                <a:lnTo>
                  <a:pt x="4226942" y="8401994"/>
                </a:lnTo>
                <a:cubicBezTo>
                  <a:pt x="4241414" y="8414948"/>
                  <a:pt x="4252336" y="8430108"/>
                  <a:pt x="4264216" y="8443161"/>
                </a:cubicBezTo>
                <a:lnTo>
                  <a:pt x="4315950" y="8494650"/>
                </a:lnTo>
                <a:lnTo>
                  <a:pt x="4779590" y="8921636"/>
                </a:lnTo>
                <a:lnTo>
                  <a:pt x="5003136" y="9083376"/>
                </a:lnTo>
                <a:lnTo>
                  <a:pt x="5015632" y="9083552"/>
                </a:lnTo>
                <a:cubicBezTo>
                  <a:pt x="5024545" y="9085068"/>
                  <a:pt x="5033383" y="9086128"/>
                  <a:pt x="5042230" y="9085005"/>
                </a:cubicBezTo>
                <a:lnTo>
                  <a:pt x="5052194" y="9080643"/>
                </a:lnTo>
                <a:lnTo>
                  <a:pt x="4898326" y="8953278"/>
                </a:lnTo>
                <a:lnTo>
                  <a:pt x="4893268" y="8949717"/>
                </a:lnTo>
                <a:lnTo>
                  <a:pt x="4882082" y="8939832"/>
                </a:lnTo>
                <a:lnTo>
                  <a:pt x="4873380" y="8932628"/>
                </a:lnTo>
                <a:lnTo>
                  <a:pt x="4870010" y="8929164"/>
                </a:lnTo>
                <a:lnTo>
                  <a:pt x="4733957" y="8808936"/>
                </a:lnTo>
                <a:cubicBezTo>
                  <a:pt x="4631488" y="8711421"/>
                  <a:pt x="4534811" y="8608635"/>
                  <a:pt x="4433788" y="8512905"/>
                </a:cubicBezTo>
                <a:cubicBezTo>
                  <a:pt x="4415758" y="8497914"/>
                  <a:pt x="4399007" y="8480116"/>
                  <a:pt x="4384469" y="8459937"/>
                </a:cubicBezTo>
                <a:lnTo>
                  <a:pt x="4349390" y="8394454"/>
                </a:lnTo>
                <a:lnTo>
                  <a:pt x="4290320" y="8320214"/>
                </a:lnTo>
                <a:cubicBezTo>
                  <a:pt x="4270846" y="8294244"/>
                  <a:pt x="4250630" y="8267079"/>
                  <a:pt x="4225055" y="8236626"/>
                </a:cubicBezTo>
                <a:cubicBezTo>
                  <a:pt x="4215508" y="8242574"/>
                  <a:pt x="4229195" y="8253926"/>
                  <a:pt x="4219649" y="8259875"/>
                </a:cubicBezTo>
                <a:cubicBezTo>
                  <a:pt x="4178580" y="8225817"/>
                  <a:pt x="4158950" y="8204915"/>
                  <a:pt x="4133375" y="8174462"/>
                </a:cubicBezTo>
                <a:cubicBezTo>
                  <a:pt x="4115544" y="8145812"/>
                  <a:pt x="4089970" y="8115359"/>
                  <a:pt x="4052508" y="8065806"/>
                </a:cubicBezTo>
                <a:cubicBezTo>
                  <a:pt x="4056113" y="8050307"/>
                  <a:pt x="4022792" y="8018054"/>
                  <a:pt x="4006766" y="7981653"/>
                </a:cubicBezTo>
                <a:cubicBezTo>
                  <a:pt x="4010906" y="7998953"/>
                  <a:pt x="4009104" y="8006702"/>
                  <a:pt x="3989472" y="7985799"/>
                </a:cubicBezTo>
                <a:cubicBezTo>
                  <a:pt x="3955616" y="7920747"/>
                  <a:pt x="3871145" y="7827588"/>
                  <a:pt x="3868270" y="7769745"/>
                </a:cubicBezTo>
                <a:cubicBezTo>
                  <a:pt x="3813515" y="7724337"/>
                  <a:pt x="3773716" y="7649735"/>
                  <a:pt x="3743464" y="7569188"/>
                </a:cubicBezTo>
                <a:cubicBezTo>
                  <a:pt x="3735718" y="7567386"/>
                  <a:pt x="3735718" y="7567386"/>
                  <a:pt x="3735718" y="7567386"/>
                </a:cubicBezTo>
                <a:cubicBezTo>
                  <a:pt x="3735718" y="7567386"/>
                  <a:pt x="3737522" y="7559636"/>
                  <a:pt x="3737522" y="7559636"/>
                </a:cubicBezTo>
                <a:cubicBezTo>
                  <a:pt x="3729776" y="7557836"/>
                  <a:pt x="3725634" y="7540536"/>
                  <a:pt x="3725634" y="7540536"/>
                </a:cubicBezTo>
                <a:cubicBezTo>
                  <a:pt x="3719692" y="7530986"/>
                  <a:pt x="3727436" y="7532787"/>
                  <a:pt x="3733379" y="7542338"/>
                </a:cubicBezTo>
                <a:lnTo>
                  <a:pt x="3736644" y="7543607"/>
                </a:lnTo>
                <a:lnTo>
                  <a:pt x="3739324" y="7551888"/>
                </a:lnTo>
                <a:cubicBezTo>
                  <a:pt x="3740224" y="7548014"/>
                  <a:pt x="3740675" y="7546076"/>
                  <a:pt x="3739932" y="7544883"/>
                </a:cubicBezTo>
                <a:lnTo>
                  <a:pt x="3736644" y="7543607"/>
                </a:lnTo>
                <a:lnTo>
                  <a:pt x="3732942" y="7532154"/>
                </a:lnTo>
                <a:cubicBezTo>
                  <a:pt x="3723116" y="7511873"/>
                  <a:pt x="3706500" y="7491162"/>
                  <a:pt x="3715014" y="7480890"/>
                </a:cubicBezTo>
                <a:cubicBezTo>
                  <a:pt x="3770304" y="7559094"/>
                  <a:pt x="3820384" y="7554407"/>
                  <a:pt x="3862522" y="7654056"/>
                </a:cubicBezTo>
                <a:cubicBezTo>
                  <a:pt x="3858917" y="7669554"/>
                  <a:pt x="3839284" y="7648652"/>
                  <a:pt x="3831539" y="7646849"/>
                </a:cubicBezTo>
                <a:cubicBezTo>
                  <a:pt x="3895112" y="7759652"/>
                  <a:pt x="3931307" y="7849751"/>
                  <a:pt x="4019918" y="7960209"/>
                </a:cubicBezTo>
                <a:cubicBezTo>
                  <a:pt x="4015778" y="7942910"/>
                  <a:pt x="4029467" y="7954263"/>
                  <a:pt x="4044958" y="7957865"/>
                </a:cubicBezTo>
                <a:cubicBezTo>
                  <a:pt x="4084220" y="7999671"/>
                  <a:pt x="4100249" y="8036070"/>
                  <a:pt x="4118078" y="8064722"/>
                </a:cubicBezTo>
                <a:cubicBezTo>
                  <a:pt x="4135908" y="8093373"/>
                  <a:pt x="4159680" y="8131574"/>
                  <a:pt x="4208492" y="8167431"/>
                </a:cubicBezTo>
                <a:cubicBezTo>
                  <a:pt x="4226321" y="8196083"/>
                  <a:pt x="4209028" y="8200229"/>
                  <a:pt x="4240546" y="8240231"/>
                </a:cubicBezTo>
                <a:cubicBezTo>
                  <a:pt x="4267924" y="8262935"/>
                  <a:pt x="4265585" y="8237888"/>
                  <a:pt x="4297103" y="8277890"/>
                </a:cubicBezTo>
                <a:cubicBezTo>
                  <a:pt x="4304214" y="8299964"/>
                  <a:pt x="4323398" y="8322803"/>
                  <a:pt x="4347194" y="8347739"/>
                </a:cubicBezTo>
                <a:lnTo>
                  <a:pt x="4351784" y="8352600"/>
                </a:lnTo>
                <a:lnTo>
                  <a:pt x="4361840" y="8340473"/>
                </a:lnTo>
                <a:lnTo>
                  <a:pt x="4268230" y="8210715"/>
                </a:lnTo>
                <a:lnTo>
                  <a:pt x="4380947" y="8337401"/>
                </a:lnTo>
                <a:lnTo>
                  <a:pt x="4391542" y="8337747"/>
                </a:lnTo>
                <a:cubicBezTo>
                  <a:pt x="4397750" y="8343965"/>
                  <a:pt x="4402250" y="8353925"/>
                  <a:pt x="4408034" y="8361078"/>
                </a:cubicBezTo>
                <a:cubicBezTo>
                  <a:pt x="4482524" y="8435680"/>
                  <a:pt x="4562459" y="8508246"/>
                  <a:pt x="4635240" y="8586590"/>
                </a:cubicBezTo>
                <a:lnTo>
                  <a:pt x="5039628" y="8963541"/>
                </a:lnTo>
                <a:lnTo>
                  <a:pt x="5454780" y="9255388"/>
                </a:lnTo>
                <a:cubicBezTo>
                  <a:pt x="5602636" y="9352022"/>
                  <a:pt x="5753536" y="9444945"/>
                  <a:pt x="5905180" y="9536937"/>
                </a:cubicBezTo>
                <a:cubicBezTo>
                  <a:pt x="5519662" y="9287486"/>
                  <a:pt x="5171191" y="9001436"/>
                  <a:pt x="4854150" y="8681319"/>
                </a:cubicBezTo>
                <a:lnTo>
                  <a:pt x="4576214" y="8371013"/>
                </a:lnTo>
                <a:lnTo>
                  <a:pt x="4394212" y="8183049"/>
                </a:lnTo>
                <a:lnTo>
                  <a:pt x="4349627" y="8105747"/>
                </a:lnTo>
                <a:lnTo>
                  <a:pt x="4344314" y="8098556"/>
                </a:lnTo>
                <a:lnTo>
                  <a:pt x="4243772" y="7987931"/>
                </a:lnTo>
                <a:cubicBezTo>
                  <a:pt x="3819179" y="7473444"/>
                  <a:pt x="3485410" y="6881225"/>
                  <a:pt x="3267006" y="6235823"/>
                </a:cubicBezTo>
                <a:lnTo>
                  <a:pt x="3211728" y="6031370"/>
                </a:lnTo>
                <a:lnTo>
                  <a:pt x="3206867" y="6033956"/>
                </a:lnTo>
                <a:cubicBezTo>
                  <a:pt x="3204473" y="6033330"/>
                  <a:pt x="3202001" y="6031191"/>
                  <a:pt x="3199584" y="6028499"/>
                </a:cubicBezTo>
                <a:lnTo>
                  <a:pt x="3192322" y="6019941"/>
                </a:lnTo>
                <a:lnTo>
                  <a:pt x="3227930" y="6178428"/>
                </a:lnTo>
                <a:cubicBezTo>
                  <a:pt x="3231658" y="6195404"/>
                  <a:pt x="3236465" y="6210009"/>
                  <a:pt x="3224717" y="6218504"/>
                </a:cubicBezTo>
                <a:lnTo>
                  <a:pt x="3221740" y="6219554"/>
                </a:lnTo>
                <a:lnTo>
                  <a:pt x="3233850" y="6276857"/>
                </a:lnTo>
                <a:cubicBezTo>
                  <a:pt x="3241373" y="6306689"/>
                  <a:pt x="3250618" y="6337751"/>
                  <a:pt x="3262542" y="6371084"/>
                </a:cubicBezTo>
                <a:cubicBezTo>
                  <a:pt x="3264276" y="6353381"/>
                  <a:pt x="3273509" y="6368579"/>
                  <a:pt x="3286976" y="6377040"/>
                </a:cubicBezTo>
                <a:cubicBezTo>
                  <a:pt x="3310442" y="6429372"/>
                  <a:pt x="3313712" y="6469010"/>
                  <a:pt x="3321210" y="6501911"/>
                </a:cubicBezTo>
                <a:cubicBezTo>
                  <a:pt x="3328712" y="6534812"/>
                  <a:pt x="3338714" y="6578682"/>
                  <a:pt x="3373146" y="6628508"/>
                </a:cubicBezTo>
                <a:cubicBezTo>
                  <a:pt x="3380648" y="6661410"/>
                  <a:pt x="3362948" y="6659682"/>
                  <a:pt x="3379682" y="6707784"/>
                </a:cubicBezTo>
                <a:cubicBezTo>
                  <a:pt x="3398150" y="6738179"/>
                  <a:pt x="3404116" y="6713741"/>
                  <a:pt x="3420848" y="6761841"/>
                </a:cubicBezTo>
                <a:cubicBezTo>
                  <a:pt x="3419885" y="6808215"/>
                  <a:pt x="3463552" y="6873239"/>
                  <a:pt x="3492018" y="6947505"/>
                </a:cubicBezTo>
                <a:cubicBezTo>
                  <a:pt x="3483552" y="6960977"/>
                  <a:pt x="3512021" y="7035242"/>
                  <a:pt x="3537221" y="7069871"/>
                </a:cubicBezTo>
                <a:cubicBezTo>
                  <a:pt x="3534720" y="7058904"/>
                  <a:pt x="3534720" y="7058904"/>
                  <a:pt x="3534720" y="7058904"/>
                </a:cubicBezTo>
                <a:cubicBezTo>
                  <a:pt x="3532220" y="7047936"/>
                  <a:pt x="3525488" y="7043706"/>
                  <a:pt x="3536454" y="7041201"/>
                </a:cubicBezTo>
                <a:cubicBezTo>
                  <a:pt x="3536454" y="7041201"/>
                  <a:pt x="3538955" y="7052168"/>
                  <a:pt x="3545687" y="7056398"/>
                </a:cubicBezTo>
                <a:cubicBezTo>
                  <a:pt x="3556652" y="7053894"/>
                  <a:pt x="3556652" y="7053894"/>
                  <a:pt x="3556652" y="7053894"/>
                </a:cubicBezTo>
                <a:cubicBezTo>
                  <a:pt x="3575120" y="7084290"/>
                  <a:pt x="3562421" y="7104500"/>
                  <a:pt x="3557422" y="7082565"/>
                </a:cubicBezTo>
                <a:cubicBezTo>
                  <a:pt x="3559922" y="7093532"/>
                  <a:pt x="3559922" y="7093532"/>
                  <a:pt x="3559922" y="7093532"/>
                </a:cubicBezTo>
                <a:cubicBezTo>
                  <a:pt x="3562421" y="7104500"/>
                  <a:pt x="3558190" y="7111235"/>
                  <a:pt x="3558190" y="7111235"/>
                </a:cubicBezTo>
                <a:cubicBezTo>
                  <a:pt x="3551456" y="7107003"/>
                  <a:pt x="3548956" y="7096035"/>
                  <a:pt x="3542222" y="7091805"/>
                </a:cubicBezTo>
                <a:cubicBezTo>
                  <a:pt x="3522022" y="7079111"/>
                  <a:pt x="3499322" y="7055451"/>
                  <a:pt x="3516058" y="7103550"/>
                </a:cubicBezTo>
                <a:cubicBezTo>
                  <a:pt x="3474122" y="7020822"/>
                  <a:pt x="3448154" y="6957524"/>
                  <a:pt x="3433152" y="6891720"/>
                </a:cubicBezTo>
                <a:cubicBezTo>
                  <a:pt x="3407186" y="6828422"/>
                  <a:pt x="3394684" y="6773586"/>
                  <a:pt x="3366216" y="6699320"/>
                </a:cubicBezTo>
                <a:cubicBezTo>
                  <a:pt x="3355248" y="6701825"/>
                  <a:pt x="3364484" y="6717024"/>
                  <a:pt x="3353518" y="6719529"/>
                </a:cubicBezTo>
                <a:cubicBezTo>
                  <a:pt x="3325817" y="6673934"/>
                  <a:pt x="3314084" y="6647768"/>
                  <a:pt x="3299850" y="6610635"/>
                </a:cubicBezTo>
                <a:cubicBezTo>
                  <a:pt x="3292349" y="6577733"/>
                  <a:pt x="3278114" y="6540600"/>
                  <a:pt x="3258880" y="6481532"/>
                </a:cubicBezTo>
                <a:cubicBezTo>
                  <a:pt x="3267346" y="6468062"/>
                  <a:pt x="3246380" y="6426698"/>
                  <a:pt x="3243110" y="6387060"/>
                </a:cubicBezTo>
                <a:cubicBezTo>
                  <a:pt x="3241379" y="6404762"/>
                  <a:pt x="3237146" y="6411498"/>
                  <a:pt x="3225413" y="6385334"/>
                </a:cubicBezTo>
                <a:cubicBezTo>
                  <a:pt x="3220028" y="6349064"/>
                  <a:pt x="3204977" y="6302021"/>
                  <a:pt x="3193292" y="6257094"/>
                </a:cubicBezTo>
                <a:lnTo>
                  <a:pt x="3186686" y="6225378"/>
                </a:lnTo>
                <a:lnTo>
                  <a:pt x="3176492" y="6225662"/>
                </a:lnTo>
                <a:cubicBezTo>
                  <a:pt x="3169302" y="6220476"/>
                  <a:pt x="3164804" y="6210788"/>
                  <a:pt x="3162320" y="6199470"/>
                </a:cubicBezTo>
                <a:lnTo>
                  <a:pt x="3154300" y="6149984"/>
                </a:lnTo>
                <a:cubicBezTo>
                  <a:pt x="3062178" y="5726052"/>
                  <a:pt x="2996910" y="5299074"/>
                  <a:pt x="2993406" y="4859490"/>
                </a:cubicBezTo>
                <a:cubicBezTo>
                  <a:pt x="2992656" y="4838775"/>
                  <a:pt x="3003808" y="4803111"/>
                  <a:pt x="2966222" y="4796178"/>
                </a:cubicBezTo>
                <a:close/>
                <a:moveTo>
                  <a:pt x="175099" y="4684419"/>
                </a:moveTo>
                <a:lnTo>
                  <a:pt x="171418" y="4693523"/>
                </a:lnTo>
                <a:cubicBezTo>
                  <a:pt x="169517" y="4699338"/>
                  <a:pt x="167845" y="4706399"/>
                  <a:pt x="166832" y="4715702"/>
                </a:cubicBezTo>
                <a:cubicBezTo>
                  <a:pt x="164774" y="4754585"/>
                  <a:pt x="162868" y="4702238"/>
                  <a:pt x="154717" y="4696059"/>
                </a:cubicBezTo>
                <a:lnTo>
                  <a:pt x="153653" y="4696379"/>
                </a:lnTo>
                <a:lnTo>
                  <a:pt x="162041" y="4772906"/>
                </a:lnTo>
                <a:lnTo>
                  <a:pt x="169337" y="4750575"/>
                </a:lnTo>
                <a:cubicBezTo>
                  <a:pt x="171688" y="4735623"/>
                  <a:pt x="173215" y="4716597"/>
                  <a:pt x="174475" y="4695869"/>
                </a:cubicBezTo>
                <a:close/>
                <a:moveTo>
                  <a:pt x="1004585" y="4636356"/>
                </a:moveTo>
                <a:lnTo>
                  <a:pt x="970019" y="4725380"/>
                </a:lnTo>
                <a:lnTo>
                  <a:pt x="965716" y="4750385"/>
                </a:lnTo>
                <a:lnTo>
                  <a:pt x="970034" y="4774376"/>
                </a:lnTo>
                <a:cubicBezTo>
                  <a:pt x="971045" y="4790331"/>
                  <a:pt x="970007" y="4808609"/>
                  <a:pt x="965494" y="4831253"/>
                </a:cubicBezTo>
                <a:cubicBezTo>
                  <a:pt x="960503" y="4835858"/>
                  <a:pt x="957050" y="4832117"/>
                  <a:pt x="954268" y="4826603"/>
                </a:cubicBezTo>
                <a:lnTo>
                  <a:pt x="953048" y="4824008"/>
                </a:lnTo>
                <a:lnTo>
                  <a:pt x="950050" y="4841435"/>
                </a:lnTo>
                <a:lnTo>
                  <a:pt x="943958" y="4841435"/>
                </a:lnTo>
                <a:lnTo>
                  <a:pt x="931352" y="4963230"/>
                </a:lnTo>
                <a:cubicBezTo>
                  <a:pt x="926975" y="5012306"/>
                  <a:pt x="924947" y="5062679"/>
                  <a:pt x="929729" y="5122931"/>
                </a:cubicBezTo>
                <a:cubicBezTo>
                  <a:pt x="935108" y="5108730"/>
                  <a:pt x="939325" y="5123313"/>
                  <a:pt x="948533" y="5133290"/>
                </a:cubicBezTo>
                <a:cubicBezTo>
                  <a:pt x="956198" y="5181645"/>
                  <a:pt x="950050" y="5215034"/>
                  <a:pt x="948890" y="5243817"/>
                </a:cubicBezTo>
                <a:cubicBezTo>
                  <a:pt x="947734" y="5272602"/>
                  <a:pt x="946189" y="5310978"/>
                  <a:pt x="963448" y="5359716"/>
                </a:cubicBezTo>
                <a:cubicBezTo>
                  <a:pt x="962288" y="5388500"/>
                  <a:pt x="948089" y="5383130"/>
                  <a:pt x="951149" y="5426495"/>
                </a:cubicBezTo>
                <a:cubicBezTo>
                  <a:pt x="959587" y="5455662"/>
                  <a:pt x="969953" y="5436855"/>
                  <a:pt x="973013" y="5480220"/>
                </a:cubicBezTo>
                <a:cubicBezTo>
                  <a:pt x="967444" y="5499219"/>
                  <a:pt x="970028" y="5524548"/>
                  <a:pt x="974866" y="5553570"/>
                </a:cubicBezTo>
                <a:lnTo>
                  <a:pt x="983561" y="5607579"/>
                </a:lnTo>
                <a:lnTo>
                  <a:pt x="983264" y="5603807"/>
                </a:lnTo>
                <a:cubicBezTo>
                  <a:pt x="984845" y="5587991"/>
                  <a:pt x="988009" y="5575337"/>
                  <a:pt x="988007" y="5562681"/>
                </a:cubicBezTo>
                <a:cubicBezTo>
                  <a:pt x="988010" y="5613299"/>
                  <a:pt x="1000663" y="5638607"/>
                  <a:pt x="1013318" y="5638604"/>
                </a:cubicBezTo>
                <a:cubicBezTo>
                  <a:pt x="1000663" y="5562684"/>
                  <a:pt x="1013318" y="5537375"/>
                  <a:pt x="1000663" y="5474109"/>
                </a:cubicBezTo>
                <a:cubicBezTo>
                  <a:pt x="1025971" y="5423496"/>
                  <a:pt x="1051279" y="5486763"/>
                  <a:pt x="1051279" y="5423496"/>
                </a:cubicBezTo>
                <a:lnTo>
                  <a:pt x="1051136" y="5420049"/>
                </a:lnTo>
                <a:lnTo>
                  <a:pt x="1044272" y="5328966"/>
                </a:lnTo>
                <a:cubicBezTo>
                  <a:pt x="1042762" y="5296539"/>
                  <a:pt x="1041310" y="5262711"/>
                  <a:pt x="1037272" y="5223147"/>
                </a:cubicBezTo>
                <a:cubicBezTo>
                  <a:pt x="1026034" y="5222699"/>
                  <a:pt x="1030975" y="5239784"/>
                  <a:pt x="1019735" y="5239334"/>
                </a:cubicBezTo>
                <a:cubicBezTo>
                  <a:pt x="1004911" y="5188086"/>
                  <a:pt x="1000423" y="5159763"/>
                  <a:pt x="996383" y="5120201"/>
                </a:cubicBezTo>
                <a:cubicBezTo>
                  <a:pt x="997742" y="5086482"/>
                  <a:pt x="993706" y="5046920"/>
                  <a:pt x="990572" y="4984880"/>
                </a:cubicBezTo>
                <a:cubicBezTo>
                  <a:pt x="1002265" y="4974087"/>
                  <a:pt x="992834" y="4928682"/>
                  <a:pt x="1000037" y="4889568"/>
                </a:cubicBezTo>
                <a:cubicBezTo>
                  <a:pt x="993739" y="4906203"/>
                  <a:pt x="987893" y="4911599"/>
                  <a:pt x="983404" y="4883276"/>
                </a:cubicBezTo>
                <a:cubicBezTo>
                  <a:pt x="991964" y="4810443"/>
                  <a:pt x="974461" y="4685915"/>
                  <a:pt x="1004594" y="4636457"/>
                </a:cubicBezTo>
                <a:close/>
                <a:moveTo>
                  <a:pt x="149099" y="4457675"/>
                </a:moveTo>
                <a:lnTo>
                  <a:pt x="143266" y="4491044"/>
                </a:lnTo>
                <a:lnTo>
                  <a:pt x="143735" y="4525754"/>
                </a:lnTo>
                <a:lnTo>
                  <a:pt x="149555" y="4628400"/>
                </a:lnTo>
                <a:lnTo>
                  <a:pt x="152983" y="4628075"/>
                </a:lnTo>
                <a:cubicBezTo>
                  <a:pt x="158735" y="4631058"/>
                  <a:pt x="163564" y="4639694"/>
                  <a:pt x="169382" y="4644875"/>
                </a:cubicBezTo>
                <a:lnTo>
                  <a:pt x="177158" y="4646628"/>
                </a:lnTo>
                <a:lnTo>
                  <a:pt x="178010" y="4630940"/>
                </a:lnTo>
                <a:cubicBezTo>
                  <a:pt x="180575" y="4587402"/>
                  <a:pt x="184301" y="4546529"/>
                  <a:pt x="193639" y="4527261"/>
                </a:cubicBezTo>
                <a:cubicBezTo>
                  <a:pt x="179014" y="4528574"/>
                  <a:pt x="171049" y="4521917"/>
                  <a:pt x="183061" y="4491354"/>
                </a:cubicBezTo>
                <a:lnTo>
                  <a:pt x="184220" y="4484595"/>
                </a:lnTo>
                <a:lnTo>
                  <a:pt x="164446" y="4477784"/>
                </a:lnTo>
                <a:close/>
                <a:moveTo>
                  <a:pt x="1160026" y="4212987"/>
                </a:moveTo>
                <a:lnTo>
                  <a:pt x="1147762" y="4244943"/>
                </a:lnTo>
                <a:cubicBezTo>
                  <a:pt x="1140644" y="4263330"/>
                  <a:pt x="1133527" y="4281519"/>
                  <a:pt x="1127200" y="4297337"/>
                </a:cubicBezTo>
                <a:cubicBezTo>
                  <a:pt x="1114547" y="4373258"/>
                  <a:pt x="1127201" y="4474485"/>
                  <a:pt x="1101892" y="4525101"/>
                </a:cubicBezTo>
                <a:cubicBezTo>
                  <a:pt x="1101892" y="4499793"/>
                  <a:pt x="1089239" y="4474485"/>
                  <a:pt x="1089239" y="4474485"/>
                </a:cubicBezTo>
                <a:lnTo>
                  <a:pt x="1066336" y="4519083"/>
                </a:lnTo>
                <a:lnTo>
                  <a:pt x="1064863" y="4537541"/>
                </a:lnTo>
                <a:cubicBezTo>
                  <a:pt x="1061941" y="4540236"/>
                  <a:pt x="1059469" y="4540491"/>
                  <a:pt x="1057318" y="4539261"/>
                </a:cubicBezTo>
                <a:lnTo>
                  <a:pt x="1056508" y="4538223"/>
                </a:lnTo>
                <a:lnTo>
                  <a:pt x="1047917" y="4554953"/>
                </a:lnTo>
                <a:lnTo>
                  <a:pt x="1037087" y="4575152"/>
                </a:lnTo>
                <a:lnTo>
                  <a:pt x="1033973" y="4605788"/>
                </a:lnTo>
                <a:cubicBezTo>
                  <a:pt x="1024109" y="4693521"/>
                  <a:pt x="1014565" y="4773350"/>
                  <a:pt x="1022969" y="4879224"/>
                </a:cubicBezTo>
                <a:cubicBezTo>
                  <a:pt x="1029266" y="4862589"/>
                  <a:pt x="1034207" y="4879671"/>
                  <a:pt x="1044995" y="4891359"/>
                </a:cubicBezTo>
                <a:cubicBezTo>
                  <a:pt x="1053974" y="4948004"/>
                  <a:pt x="1046771" y="4987119"/>
                  <a:pt x="1045415" y="5020836"/>
                </a:cubicBezTo>
                <a:cubicBezTo>
                  <a:pt x="1044736" y="5037696"/>
                  <a:pt x="1043945" y="5057364"/>
                  <a:pt x="1045849" y="5079956"/>
                </a:cubicBezTo>
                <a:lnTo>
                  <a:pt x="1053521" y="5115344"/>
                </a:lnTo>
                <a:lnTo>
                  <a:pt x="1054442" y="5115068"/>
                </a:lnTo>
                <a:cubicBezTo>
                  <a:pt x="1057606" y="5110323"/>
                  <a:pt x="1057607" y="5100833"/>
                  <a:pt x="1051282" y="5081852"/>
                </a:cubicBezTo>
                <a:cubicBezTo>
                  <a:pt x="1076582" y="5119812"/>
                  <a:pt x="1089239" y="5107157"/>
                  <a:pt x="1101892" y="5119812"/>
                </a:cubicBezTo>
                <a:cubicBezTo>
                  <a:pt x="1114546" y="5296962"/>
                  <a:pt x="1165160" y="5512071"/>
                  <a:pt x="1228429" y="5448803"/>
                </a:cubicBezTo>
                <a:cubicBezTo>
                  <a:pt x="1228429" y="5410842"/>
                  <a:pt x="1225267" y="5372882"/>
                  <a:pt x="1223684" y="5338083"/>
                </a:cubicBezTo>
                <a:lnTo>
                  <a:pt x="1227343" y="5267367"/>
                </a:lnTo>
                <a:lnTo>
                  <a:pt x="1220456" y="5226296"/>
                </a:lnTo>
                <a:cubicBezTo>
                  <a:pt x="1216307" y="5189543"/>
                  <a:pt x="1214854" y="5155712"/>
                  <a:pt x="1216210" y="5121995"/>
                </a:cubicBezTo>
                <a:cubicBezTo>
                  <a:pt x="1207684" y="5054109"/>
                  <a:pt x="1209946" y="4997912"/>
                  <a:pt x="1201873" y="4918788"/>
                </a:cubicBezTo>
                <a:cubicBezTo>
                  <a:pt x="1190633" y="4918341"/>
                  <a:pt x="1195574" y="4935423"/>
                  <a:pt x="1184335" y="4934976"/>
                </a:cubicBezTo>
                <a:cubicBezTo>
                  <a:pt x="1169510" y="4883726"/>
                  <a:pt x="1165021" y="4855404"/>
                  <a:pt x="1160984" y="4815842"/>
                </a:cubicBezTo>
                <a:cubicBezTo>
                  <a:pt x="1162342" y="4782125"/>
                  <a:pt x="1158305" y="4742561"/>
                  <a:pt x="1155173" y="4680522"/>
                </a:cubicBezTo>
                <a:cubicBezTo>
                  <a:pt x="1166864" y="4669728"/>
                  <a:pt x="1157432" y="4624323"/>
                  <a:pt x="1164637" y="4585209"/>
                </a:cubicBezTo>
                <a:cubicBezTo>
                  <a:pt x="1158337" y="4601846"/>
                  <a:pt x="1152493" y="4607240"/>
                  <a:pt x="1148003" y="4578918"/>
                </a:cubicBezTo>
                <a:cubicBezTo>
                  <a:pt x="1156564" y="4506086"/>
                  <a:pt x="1139060" y="4381556"/>
                  <a:pt x="1169194" y="4332098"/>
                </a:cubicBezTo>
                <a:cubicBezTo>
                  <a:pt x="1159310" y="4297931"/>
                  <a:pt x="1156624" y="4259829"/>
                  <a:pt x="1158937" y="4219817"/>
                </a:cubicBezTo>
                <a:close/>
                <a:moveTo>
                  <a:pt x="91588" y="4168734"/>
                </a:moveTo>
                <a:lnTo>
                  <a:pt x="83972" y="4316366"/>
                </a:lnTo>
                <a:lnTo>
                  <a:pt x="74405" y="4340697"/>
                </a:lnTo>
                <a:cubicBezTo>
                  <a:pt x="74405" y="4340697"/>
                  <a:pt x="74405" y="4340697"/>
                  <a:pt x="82370" y="4347356"/>
                </a:cubicBezTo>
                <a:lnTo>
                  <a:pt x="83972" y="4316366"/>
                </a:lnTo>
                <a:lnTo>
                  <a:pt x="86419" y="4310133"/>
                </a:lnTo>
                <a:cubicBezTo>
                  <a:pt x="101044" y="4308821"/>
                  <a:pt x="102349" y="4323447"/>
                  <a:pt x="95689" y="4331417"/>
                </a:cubicBezTo>
                <a:lnTo>
                  <a:pt x="100619" y="4335539"/>
                </a:lnTo>
                <a:lnTo>
                  <a:pt x="104017" y="4168869"/>
                </a:lnTo>
                <a:cubicBezTo>
                  <a:pt x="100312" y="4173339"/>
                  <a:pt x="96818" y="4173462"/>
                  <a:pt x="93514" y="4171199"/>
                </a:cubicBezTo>
                <a:close/>
                <a:moveTo>
                  <a:pt x="1747226" y="4145492"/>
                </a:moveTo>
                <a:lnTo>
                  <a:pt x="1747224" y="4196109"/>
                </a:lnTo>
                <a:cubicBezTo>
                  <a:pt x="1734570" y="4208762"/>
                  <a:pt x="1734570" y="4221414"/>
                  <a:pt x="1734570" y="4221414"/>
                </a:cubicBezTo>
                <a:lnTo>
                  <a:pt x="1734570" y="4208762"/>
                </a:lnTo>
                <a:lnTo>
                  <a:pt x="1734570" y="4196109"/>
                </a:lnTo>
                <a:lnTo>
                  <a:pt x="1734570" y="4183452"/>
                </a:lnTo>
                <a:cubicBezTo>
                  <a:pt x="1734570" y="4170800"/>
                  <a:pt x="1734570" y="4158146"/>
                  <a:pt x="1747226" y="4145492"/>
                </a:cubicBezTo>
                <a:close/>
                <a:moveTo>
                  <a:pt x="302197" y="4128171"/>
                </a:moveTo>
                <a:cubicBezTo>
                  <a:pt x="286436" y="4154439"/>
                  <a:pt x="275927" y="4180709"/>
                  <a:pt x="270673" y="4206978"/>
                </a:cubicBezTo>
                <a:cubicBezTo>
                  <a:pt x="260167" y="4280525"/>
                  <a:pt x="254914" y="4354077"/>
                  <a:pt x="244402" y="4427628"/>
                </a:cubicBezTo>
                <a:lnTo>
                  <a:pt x="233195" y="4459299"/>
                </a:lnTo>
                <a:lnTo>
                  <a:pt x="228695" y="4527801"/>
                </a:lnTo>
                <a:lnTo>
                  <a:pt x="220168" y="4693059"/>
                </a:lnTo>
                <a:lnTo>
                  <a:pt x="210602" y="4717389"/>
                </a:lnTo>
                <a:cubicBezTo>
                  <a:pt x="210602" y="4717389"/>
                  <a:pt x="210602" y="4717389"/>
                  <a:pt x="218566" y="4724043"/>
                </a:cubicBezTo>
                <a:lnTo>
                  <a:pt x="220168" y="4693059"/>
                </a:lnTo>
                <a:lnTo>
                  <a:pt x="222616" y="4686827"/>
                </a:lnTo>
                <a:cubicBezTo>
                  <a:pt x="237241" y="4685514"/>
                  <a:pt x="238546" y="4700138"/>
                  <a:pt x="231886" y="4708109"/>
                </a:cubicBezTo>
                <a:cubicBezTo>
                  <a:pt x="239851" y="4714763"/>
                  <a:pt x="239851" y="4714763"/>
                  <a:pt x="239851" y="4714763"/>
                </a:cubicBezTo>
                <a:cubicBezTo>
                  <a:pt x="265319" y="4587170"/>
                  <a:pt x="288179" y="4430322"/>
                  <a:pt x="292363" y="4312007"/>
                </a:cubicBezTo>
                <a:lnTo>
                  <a:pt x="323828" y="4208169"/>
                </a:lnTo>
                <a:lnTo>
                  <a:pt x="322393" y="4195155"/>
                </a:lnTo>
                <a:cubicBezTo>
                  <a:pt x="317960" y="4172826"/>
                  <a:pt x="311393" y="4150499"/>
                  <a:pt x="302197" y="4128171"/>
                </a:cubicBezTo>
                <a:close/>
                <a:moveTo>
                  <a:pt x="136856" y="4085625"/>
                </a:moveTo>
                <a:lnTo>
                  <a:pt x="122686" y="4126770"/>
                </a:lnTo>
                <a:cubicBezTo>
                  <a:pt x="115268" y="4163018"/>
                  <a:pt x="116146" y="4201986"/>
                  <a:pt x="116063" y="4254851"/>
                </a:cubicBezTo>
                <a:lnTo>
                  <a:pt x="115835" y="4265180"/>
                </a:lnTo>
                <a:lnTo>
                  <a:pt x="132179" y="4167393"/>
                </a:lnTo>
                <a:lnTo>
                  <a:pt x="132100" y="4159281"/>
                </a:lnTo>
                <a:close/>
                <a:moveTo>
                  <a:pt x="146296" y="3904146"/>
                </a:moveTo>
                <a:cubicBezTo>
                  <a:pt x="144367" y="3904998"/>
                  <a:pt x="142183" y="3908090"/>
                  <a:pt x="139528" y="3914934"/>
                </a:cubicBezTo>
                <a:cubicBezTo>
                  <a:pt x="145255" y="3940773"/>
                  <a:pt x="144134" y="3963960"/>
                  <a:pt x="142351" y="3988856"/>
                </a:cubicBezTo>
                <a:lnTo>
                  <a:pt x="142147" y="4003731"/>
                </a:lnTo>
                <a:lnTo>
                  <a:pt x="148504" y="3905261"/>
                </a:lnTo>
                <a:close/>
                <a:moveTo>
                  <a:pt x="166543" y="3359468"/>
                </a:moveTo>
                <a:cubicBezTo>
                  <a:pt x="165046" y="3357510"/>
                  <a:pt x="163340" y="3357566"/>
                  <a:pt x="161255" y="3361278"/>
                </a:cubicBezTo>
                <a:cubicBezTo>
                  <a:pt x="158473" y="3366230"/>
                  <a:pt x="155014" y="3377684"/>
                  <a:pt x="150472" y="3399543"/>
                </a:cubicBezTo>
                <a:cubicBezTo>
                  <a:pt x="154664" y="3409040"/>
                  <a:pt x="154664" y="3409040"/>
                  <a:pt x="154664" y="3409040"/>
                </a:cubicBezTo>
                <a:cubicBezTo>
                  <a:pt x="159973" y="3395351"/>
                  <a:pt x="159973" y="3395351"/>
                  <a:pt x="159973" y="3395351"/>
                </a:cubicBezTo>
                <a:cubicBezTo>
                  <a:pt x="159973" y="3395351"/>
                  <a:pt x="159973" y="3395351"/>
                  <a:pt x="164165" y="3404847"/>
                </a:cubicBezTo>
                <a:cubicBezTo>
                  <a:pt x="164165" y="3404847"/>
                  <a:pt x="168355" y="3414344"/>
                  <a:pt x="168355" y="3414344"/>
                </a:cubicBezTo>
                <a:cubicBezTo>
                  <a:pt x="158852" y="3418536"/>
                  <a:pt x="163045" y="3428033"/>
                  <a:pt x="163045" y="3428033"/>
                </a:cubicBezTo>
                <a:cubicBezTo>
                  <a:pt x="153542" y="3432227"/>
                  <a:pt x="153542" y="3432227"/>
                  <a:pt x="153542" y="3432227"/>
                </a:cubicBezTo>
                <a:cubicBezTo>
                  <a:pt x="172546" y="3423840"/>
                  <a:pt x="154373" y="3511281"/>
                  <a:pt x="150184" y="3501785"/>
                </a:cubicBezTo>
                <a:cubicBezTo>
                  <a:pt x="145991" y="3492288"/>
                  <a:pt x="145991" y="3492288"/>
                  <a:pt x="145991" y="3492288"/>
                </a:cubicBezTo>
                <a:cubicBezTo>
                  <a:pt x="145991" y="3492288"/>
                  <a:pt x="150184" y="3501785"/>
                  <a:pt x="144872" y="3515475"/>
                </a:cubicBezTo>
                <a:cubicBezTo>
                  <a:pt x="144872" y="3515475"/>
                  <a:pt x="139562" y="3529161"/>
                  <a:pt x="139562" y="3529161"/>
                </a:cubicBezTo>
                <a:cubicBezTo>
                  <a:pt x="139562" y="3529161"/>
                  <a:pt x="130060" y="3533354"/>
                  <a:pt x="135371" y="3519663"/>
                </a:cubicBezTo>
                <a:cubicBezTo>
                  <a:pt x="135371" y="3519663"/>
                  <a:pt x="131180" y="3510168"/>
                  <a:pt x="131180" y="3510168"/>
                </a:cubicBezTo>
                <a:cubicBezTo>
                  <a:pt x="123629" y="3570230"/>
                  <a:pt x="73595" y="3739805"/>
                  <a:pt x="85049" y="3791483"/>
                </a:cubicBezTo>
                <a:cubicBezTo>
                  <a:pt x="110482" y="3746220"/>
                  <a:pt x="126413" y="3705153"/>
                  <a:pt x="153794" y="3715758"/>
                </a:cubicBezTo>
                <a:cubicBezTo>
                  <a:pt x="149813" y="3726026"/>
                  <a:pt x="144571" y="3762377"/>
                  <a:pt x="156463" y="3768831"/>
                </a:cubicBezTo>
                <a:lnTo>
                  <a:pt x="166171" y="3765864"/>
                </a:lnTo>
                <a:lnTo>
                  <a:pt x="197119" y="3566031"/>
                </a:lnTo>
                <a:lnTo>
                  <a:pt x="236113" y="3380820"/>
                </a:lnTo>
                <a:lnTo>
                  <a:pt x="224242" y="3412373"/>
                </a:lnTo>
                <a:cubicBezTo>
                  <a:pt x="208309" y="3453441"/>
                  <a:pt x="216980" y="3370194"/>
                  <a:pt x="203290" y="3364890"/>
                </a:cubicBezTo>
                <a:cubicBezTo>
                  <a:pt x="203290" y="3364890"/>
                  <a:pt x="192667" y="3392270"/>
                  <a:pt x="178976" y="3386964"/>
                </a:cubicBezTo>
                <a:cubicBezTo>
                  <a:pt x="173632" y="3389322"/>
                  <a:pt x="171029" y="3365342"/>
                  <a:pt x="166543" y="3359468"/>
                </a:cubicBezTo>
                <a:close/>
                <a:moveTo>
                  <a:pt x="675232" y="2205345"/>
                </a:moveTo>
                <a:cubicBezTo>
                  <a:pt x="646334" y="2226359"/>
                  <a:pt x="622691" y="2250000"/>
                  <a:pt x="598391" y="2271671"/>
                </a:cubicBezTo>
                <a:lnTo>
                  <a:pt x="595514" y="2273613"/>
                </a:lnTo>
                <a:lnTo>
                  <a:pt x="593956" y="2282829"/>
                </a:lnTo>
                <a:cubicBezTo>
                  <a:pt x="587123" y="2306837"/>
                  <a:pt x="579290" y="2332385"/>
                  <a:pt x="575621" y="2365005"/>
                </a:cubicBezTo>
                <a:cubicBezTo>
                  <a:pt x="538019" y="2412810"/>
                  <a:pt x="530204" y="2460243"/>
                  <a:pt x="513883" y="2537843"/>
                </a:cubicBezTo>
                <a:lnTo>
                  <a:pt x="507934" y="2563505"/>
                </a:lnTo>
                <a:lnTo>
                  <a:pt x="533374" y="2578352"/>
                </a:lnTo>
                <a:cubicBezTo>
                  <a:pt x="554392" y="2594111"/>
                  <a:pt x="570152" y="2583605"/>
                  <a:pt x="580660" y="2562593"/>
                </a:cubicBezTo>
                <a:cubicBezTo>
                  <a:pt x="622693" y="2452268"/>
                  <a:pt x="680485" y="2341938"/>
                  <a:pt x="675232" y="2205345"/>
                </a:cubicBezTo>
                <a:close/>
                <a:moveTo>
                  <a:pt x="523040" y="2200926"/>
                </a:moveTo>
                <a:lnTo>
                  <a:pt x="513322" y="2228223"/>
                </a:lnTo>
                <a:cubicBezTo>
                  <a:pt x="500569" y="2263632"/>
                  <a:pt x="484639" y="2304701"/>
                  <a:pt x="461300" y="2354711"/>
                </a:cubicBezTo>
                <a:cubicBezTo>
                  <a:pt x="461300" y="2354711"/>
                  <a:pt x="447608" y="2349407"/>
                  <a:pt x="442297" y="2363097"/>
                </a:cubicBezTo>
                <a:cubicBezTo>
                  <a:pt x="424126" y="2450534"/>
                  <a:pt x="425249" y="2427350"/>
                  <a:pt x="412385" y="2501100"/>
                </a:cubicBezTo>
                <a:cubicBezTo>
                  <a:pt x="401762" y="2528478"/>
                  <a:pt x="391144" y="2555858"/>
                  <a:pt x="375211" y="2596926"/>
                </a:cubicBezTo>
                <a:cubicBezTo>
                  <a:pt x="362063" y="2772915"/>
                  <a:pt x="284644" y="2931885"/>
                  <a:pt x="251371" y="3139446"/>
                </a:cubicBezTo>
                <a:cubicBezTo>
                  <a:pt x="241871" y="3143637"/>
                  <a:pt x="235441" y="3180515"/>
                  <a:pt x="224819" y="3207893"/>
                </a:cubicBezTo>
                <a:cubicBezTo>
                  <a:pt x="238511" y="3213197"/>
                  <a:pt x="217268" y="3267957"/>
                  <a:pt x="226771" y="3263763"/>
                </a:cubicBezTo>
                <a:cubicBezTo>
                  <a:pt x="241862" y="3240084"/>
                  <a:pt x="249883" y="3200378"/>
                  <a:pt x="264502" y="3186482"/>
                </a:cubicBezTo>
                <a:lnTo>
                  <a:pt x="277628" y="3183644"/>
                </a:lnTo>
                <a:lnTo>
                  <a:pt x="294317" y="3104372"/>
                </a:lnTo>
                <a:cubicBezTo>
                  <a:pt x="329782" y="2951360"/>
                  <a:pt x="367873" y="2799006"/>
                  <a:pt x="407276" y="2646653"/>
                </a:cubicBezTo>
                <a:cubicBezTo>
                  <a:pt x="419101" y="2599368"/>
                  <a:pt x="433879" y="2549130"/>
                  <a:pt x="478208" y="2553563"/>
                </a:cubicBezTo>
                <a:lnTo>
                  <a:pt x="495008" y="2558340"/>
                </a:lnTo>
                <a:lnTo>
                  <a:pt x="519655" y="2451215"/>
                </a:lnTo>
                <a:cubicBezTo>
                  <a:pt x="501502" y="2465693"/>
                  <a:pt x="500848" y="2412767"/>
                  <a:pt x="490688" y="2414930"/>
                </a:cubicBezTo>
                <a:lnTo>
                  <a:pt x="521407" y="2296610"/>
                </a:lnTo>
                <a:lnTo>
                  <a:pt x="522992" y="2284277"/>
                </a:lnTo>
                <a:lnTo>
                  <a:pt x="518692" y="2290899"/>
                </a:lnTo>
                <a:cubicBezTo>
                  <a:pt x="517693" y="2292438"/>
                  <a:pt x="517693" y="2292438"/>
                  <a:pt x="517693" y="2292438"/>
                </a:cubicBezTo>
                <a:cubicBezTo>
                  <a:pt x="509698" y="2304755"/>
                  <a:pt x="509698" y="2304755"/>
                  <a:pt x="509698" y="2304755"/>
                </a:cubicBezTo>
                <a:cubicBezTo>
                  <a:pt x="507535" y="2294601"/>
                  <a:pt x="505373" y="2284451"/>
                  <a:pt x="503212" y="2274299"/>
                </a:cubicBezTo>
                <a:cubicBezTo>
                  <a:pt x="511207" y="2261982"/>
                  <a:pt x="511207" y="2261982"/>
                  <a:pt x="511207" y="2261982"/>
                </a:cubicBezTo>
                <a:cubicBezTo>
                  <a:pt x="511207" y="2261982"/>
                  <a:pt x="511207" y="2261982"/>
                  <a:pt x="521365" y="2259818"/>
                </a:cubicBezTo>
                <a:cubicBezTo>
                  <a:pt x="517202" y="2252744"/>
                  <a:pt x="516173" y="2241687"/>
                  <a:pt x="517589" y="2227290"/>
                </a:cubicBezTo>
                <a:close/>
                <a:moveTo>
                  <a:pt x="609370" y="1937486"/>
                </a:moveTo>
                <a:lnTo>
                  <a:pt x="606925" y="1938728"/>
                </a:lnTo>
                <a:lnTo>
                  <a:pt x="600083" y="1963008"/>
                </a:lnTo>
                <a:close/>
                <a:moveTo>
                  <a:pt x="2354597" y="1627446"/>
                </a:moveTo>
                <a:cubicBezTo>
                  <a:pt x="2354598" y="1633772"/>
                  <a:pt x="2354598" y="1636937"/>
                  <a:pt x="2353016" y="1638516"/>
                </a:cubicBezTo>
                <a:lnTo>
                  <a:pt x="2347962" y="1639239"/>
                </a:lnTo>
                <a:close/>
                <a:moveTo>
                  <a:pt x="2453333" y="1504730"/>
                </a:moveTo>
                <a:lnTo>
                  <a:pt x="2443172" y="1513565"/>
                </a:lnTo>
                <a:lnTo>
                  <a:pt x="2433042" y="1543170"/>
                </a:lnTo>
                <a:close/>
                <a:moveTo>
                  <a:pt x="2455824" y="966746"/>
                </a:moveTo>
                <a:lnTo>
                  <a:pt x="2455824" y="969464"/>
                </a:lnTo>
                <a:lnTo>
                  <a:pt x="2443172" y="982118"/>
                </a:lnTo>
                <a:close/>
                <a:moveTo>
                  <a:pt x="1481994" y="366944"/>
                </a:moveTo>
                <a:cubicBezTo>
                  <a:pt x="1479083" y="365739"/>
                  <a:pt x="1474638" y="366686"/>
                  <a:pt x="1467562" y="370847"/>
                </a:cubicBezTo>
                <a:cubicBezTo>
                  <a:pt x="1429750" y="442577"/>
                  <a:pt x="1407925" y="489677"/>
                  <a:pt x="1367948" y="551256"/>
                </a:cubicBezTo>
                <a:cubicBezTo>
                  <a:pt x="1335968" y="600519"/>
                  <a:pt x="1306151" y="659933"/>
                  <a:pt x="1240025" y="748308"/>
                </a:cubicBezTo>
                <a:cubicBezTo>
                  <a:pt x="1240025" y="748308"/>
                  <a:pt x="1227707" y="740318"/>
                  <a:pt x="1219709" y="752634"/>
                </a:cubicBezTo>
                <a:cubicBezTo>
                  <a:pt x="1184059" y="834516"/>
                  <a:pt x="1189894" y="812051"/>
                  <a:pt x="1162235" y="881616"/>
                </a:cubicBezTo>
                <a:cubicBezTo>
                  <a:pt x="1146244" y="906249"/>
                  <a:pt x="1130255" y="930879"/>
                  <a:pt x="1106269" y="967827"/>
                </a:cubicBezTo>
                <a:cubicBezTo>
                  <a:pt x="1081856" y="1052624"/>
                  <a:pt x="1042583" y="1129971"/>
                  <a:pt x="1000045" y="1210668"/>
                </a:cubicBezTo>
                <a:lnTo>
                  <a:pt x="959045" y="1289678"/>
                </a:lnTo>
                <a:lnTo>
                  <a:pt x="939901" y="1370676"/>
                </a:lnTo>
                <a:cubicBezTo>
                  <a:pt x="926111" y="1442258"/>
                  <a:pt x="919541" y="1509242"/>
                  <a:pt x="927422" y="1538138"/>
                </a:cubicBezTo>
                <a:cubicBezTo>
                  <a:pt x="1058777" y="1285962"/>
                  <a:pt x="1190123" y="1033787"/>
                  <a:pt x="1289950" y="765854"/>
                </a:cubicBezTo>
                <a:cubicBezTo>
                  <a:pt x="1316218" y="694929"/>
                  <a:pt x="1347743" y="626631"/>
                  <a:pt x="1382551" y="560306"/>
                </a:cubicBezTo>
                <a:lnTo>
                  <a:pt x="1487975" y="378446"/>
                </a:lnTo>
                <a:lnTo>
                  <a:pt x="1487231" y="375944"/>
                </a:lnTo>
                <a:cubicBezTo>
                  <a:pt x="1486283" y="371502"/>
                  <a:pt x="1484906" y="368148"/>
                  <a:pt x="1481994" y="366944"/>
                </a:cubicBezTo>
                <a:close/>
                <a:moveTo>
                  <a:pt x="2896330" y="0"/>
                </a:moveTo>
                <a:lnTo>
                  <a:pt x="3314054" y="0"/>
                </a:lnTo>
                <a:lnTo>
                  <a:pt x="3271984" y="44175"/>
                </a:lnTo>
                <a:cubicBezTo>
                  <a:pt x="3243512" y="77390"/>
                  <a:pt x="3221369" y="109025"/>
                  <a:pt x="3215042" y="134331"/>
                </a:cubicBezTo>
                <a:cubicBezTo>
                  <a:pt x="3189730" y="134331"/>
                  <a:pt x="3215042" y="71066"/>
                  <a:pt x="3164426" y="159642"/>
                </a:cubicBezTo>
                <a:lnTo>
                  <a:pt x="3164426" y="146985"/>
                </a:lnTo>
                <a:lnTo>
                  <a:pt x="3151772" y="146985"/>
                </a:lnTo>
                <a:cubicBezTo>
                  <a:pt x="3151772" y="159641"/>
                  <a:pt x="3139120" y="159641"/>
                  <a:pt x="3139120" y="159641"/>
                </a:cubicBezTo>
                <a:cubicBezTo>
                  <a:pt x="3113812" y="159641"/>
                  <a:pt x="3113812" y="197601"/>
                  <a:pt x="3088506" y="222906"/>
                </a:cubicBezTo>
                <a:lnTo>
                  <a:pt x="3088506" y="210252"/>
                </a:lnTo>
                <a:lnTo>
                  <a:pt x="3075852" y="210252"/>
                </a:lnTo>
                <a:cubicBezTo>
                  <a:pt x="3075852" y="210252"/>
                  <a:pt x="3075851" y="222906"/>
                  <a:pt x="3063198" y="222906"/>
                </a:cubicBezTo>
                <a:lnTo>
                  <a:pt x="3063197" y="235560"/>
                </a:lnTo>
                <a:cubicBezTo>
                  <a:pt x="3037892" y="260870"/>
                  <a:pt x="3050540" y="273522"/>
                  <a:pt x="3037892" y="286175"/>
                </a:cubicBezTo>
                <a:lnTo>
                  <a:pt x="3025236" y="298829"/>
                </a:lnTo>
                <a:lnTo>
                  <a:pt x="3012582" y="298827"/>
                </a:lnTo>
                <a:lnTo>
                  <a:pt x="2999930" y="311481"/>
                </a:lnTo>
                <a:lnTo>
                  <a:pt x="3012582" y="311481"/>
                </a:lnTo>
                <a:lnTo>
                  <a:pt x="3025236" y="311481"/>
                </a:lnTo>
                <a:cubicBezTo>
                  <a:pt x="2987278" y="362096"/>
                  <a:pt x="2974622" y="387402"/>
                  <a:pt x="2936663" y="400056"/>
                </a:cubicBezTo>
                <a:lnTo>
                  <a:pt x="2936662" y="387402"/>
                </a:lnTo>
                <a:lnTo>
                  <a:pt x="2949317" y="374747"/>
                </a:lnTo>
                <a:lnTo>
                  <a:pt x="2936662" y="374750"/>
                </a:lnTo>
                <a:lnTo>
                  <a:pt x="2949318" y="362094"/>
                </a:lnTo>
                <a:lnTo>
                  <a:pt x="2961968" y="362093"/>
                </a:lnTo>
                <a:cubicBezTo>
                  <a:pt x="2961966" y="357876"/>
                  <a:pt x="2961968" y="353658"/>
                  <a:pt x="2961965" y="349442"/>
                </a:cubicBezTo>
                <a:cubicBezTo>
                  <a:pt x="2961968" y="345224"/>
                  <a:pt x="2961968" y="341007"/>
                  <a:pt x="2961968" y="336788"/>
                </a:cubicBezTo>
                <a:lnTo>
                  <a:pt x="2949317" y="349442"/>
                </a:lnTo>
                <a:cubicBezTo>
                  <a:pt x="2974619" y="311484"/>
                  <a:pt x="3025236" y="273521"/>
                  <a:pt x="2961965" y="298827"/>
                </a:cubicBezTo>
                <a:lnTo>
                  <a:pt x="2974624" y="286175"/>
                </a:lnTo>
                <a:lnTo>
                  <a:pt x="2987278" y="286176"/>
                </a:lnTo>
                <a:cubicBezTo>
                  <a:pt x="2999930" y="273521"/>
                  <a:pt x="2999928" y="260870"/>
                  <a:pt x="2999928" y="260870"/>
                </a:cubicBezTo>
                <a:cubicBezTo>
                  <a:pt x="2999928" y="248213"/>
                  <a:pt x="2987276" y="248213"/>
                  <a:pt x="2974622" y="260867"/>
                </a:cubicBezTo>
                <a:lnTo>
                  <a:pt x="2961970" y="273521"/>
                </a:lnTo>
                <a:lnTo>
                  <a:pt x="2949317" y="286175"/>
                </a:lnTo>
                <a:cubicBezTo>
                  <a:pt x="2936662" y="298827"/>
                  <a:pt x="2924009" y="311484"/>
                  <a:pt x="2924008" y="324135"/>
                </a:cubicBezTo>
                <a:cubicBezTo>
                  <a:pt x="2924008" y="324135"/>
                  <a:pt x="2936663" y="324135"/>
                  <a:pt x="2949317" y="311481"/>
                </a:cubicBezTo>
                <a:lnTo>
                  <a:pt x="2961965" y="298827"/>
                </a:lnTo>
                <a:lnTo>
                  <a:pt x="2936662" y="349442"/>
                </a:lnTo>
                <a:lnTo>
                  <a:pt x="2924008" y="362096"/>
                </a:lnTo>
                <a:cubicBezTo>
                  <a:pt x="2911355" y="362093"/>
                  <a:pt x="2911355" y="362093"/>
                  <a:pt x="2898702" y="374747"/>
                </a:cubicBezTo>
                <a:cubicBezTo>
                  <a:pt x="2898702" y="374747"/>
                  <a:pt x="2898702" y="387402"/>
                  <a:pt x="2911350" y="374747"/>
                </a:cubicBezTo>
                <a:cubicBezTo>
                  <a:pt x="2911352" y="378965"/>
                  <a:pt x="2911352" y="383184"/>
                  <a:pt x="2911354" y="387402"/>
                </a:cubicBezTo>
                <a:cubicBezTo>
                  <a:pt x="2886047" y="400056"/>
                  <a:pt x="2886047" y="412713"/>
                  <a:pt x="2911354" y="400059"/>
                </a:cubicBezTo>
                <a:lnTo>
                  <a:pt x="2886048" y="425363"/>
                </a:lnTo>
                <a:cubicBezTo>
                  <a:pt x="2898704" y="438017"/>
                  <a:pt x="2898704" y="438017"/>
                  <a:pt x="2911350" y="425363"/>
                </a:cubicBezTo>
                <a:cubicBezTo>
                  <a:pt x="2911350" y="425363"/>
                  <a:pt x="2911350" y="412710"/>
                  <a:pt x="2924008" y="412712"/>
                </a:cubicBezTo>
                <a:cubicBezTo>
                  <a:pt x="2898704" y="438017"/>
                  <a:pt x="2911354" y="450671"/>
                  <a:pt x="2873394" y="501282"/>
                </a:cubicBezTo>
                <a:cubicBezTo>
                  <a:pt x="2873393" y="488631"/>
                  <a:pt x="2898702" y="463323"/>
                  <a:pt x="2886047" y="450672"/>
                </a:cubicBezTo>
                <a:cubicBezTo>
                  <a:pt x="2873394" y="501282"/>
                  <a:pt x="2873394" y="475979"/>
                  <a:pt x="2848088" y="488633"/>
                </a:cubicBezTo>
                <a:lnTo>
                  <a:pt x="2848086" y="475980"/>
                </a:lnTo>
                <a:cubicBezTo>
                  <a:pt x="2860742" y="463323"/>
                  <a:pt x="2860742" y="450671"/>
                  <a:pt x="2860742" y="450671"/>
                </a:cubicBezTo>
                <a:cubicBezTo>
                  <a:pt x="2848088" y="450672"/>
                  <a:pt x="2835430" y="463322"/>
                  <a:pt x="2822778" y="475977"/>
                </a:cubicBezTo>
                <a:cubicBezTo>
                  <a:pt x="2822777" y="488633"/>
                  <a:pt x="2822777" y="488633"/>
                  <a:pt x="2810128" y="488631"/>
                </a:cubicBezTo>
                <a:cubicBezTo>
                  <a:pt x="2797472" y="488631"/>
                  <a:pt x="2784820" y="513938"/>
                  <a:pt x="2759512" y="539243"/>
                </a:cubicBezTo>
                <a:cubicBezTo>
                  <a:pt x="2772164" y="551898"/>
                  <a:pt x="2784820" y="513938"/>
                  <a:pt x="2797472" y="513938"/>
                </a:cubicBezTo>
                <a:lnTo>
                  <a:pt x="2784818" y="526592"/>
                </a:lnTo>
                <a:cubicBezTo>
                  <a:pt x="2772164" y="539243"/>
                  <a:pt x="2772164" y="551898"/>
                  <a:pt x="2772164" y="551898"/>
                </a:cubicBezTo>
                <a:cubicBezTo>
                  <a:pt x="2772162" y="564552"/>
                  <a:pt x="2784820" y="551898"/>
                  <a:pt x="2797474" y="539243"/>
                </a:cubicBezTo>
                <a:lnTo>
                  <a:pt x="2810128" y="539243"/>
                </a:lnTo>
                <a:cubicBezTo>
                  <a:pt x="2772164" y="577206"/>
                  <a:pt x="2734204" y="627818"/>
                  <a:pt x="2772166" y="602513"/>
                </a:cubicBezTo>
                <a:cubicBezTo>
                  <a:pt x="2734200" y="653127"/>
                  <a:pt x="2759512" y="589857"/>
                  <a:pt x="2721554" y="627818"/>
                </a:cubicBezTo>
                <a:cubicBezTo>
                  <a:pt x="2683589" y="665778"/>
                  <a:pt x="2683589" y="703739"/>
                  <a:pt x="2658284" y="703743"/>
                </a:cubicBezTo>
                <a:lnTo>
                  <a:pt x="2658284" y="741699"/>
                </a:lnTo>
                <a:cubicBezTo>
                  <a:pt x="2645626" y="741699"/>
                  <a:pt x="2632979" y="754355"/>
                  <a:pt x="2595016" y="779661"/>
                </a:cubicBezTo>
                <a:cubicBezTo>
                  <a:pt x="2538072" y="855582"/>
                  <a:pt x="2523836" y="881681"/>
                  <a:pt x="2488250" y="927351"/>
                </a:cubicBezTo>
                <a:lnTo>
                  <a:pt x="2455824" y="966746"/>
                </a:lnTo>
                <a:cubicBezTo>
                  <a:pt x="2455823" y="963432"/>
                  <a:pt x="2455823" y="960122"/>
                  <a:pt x="2455822" y="956810"/>
                </a:cubicBezTo>
                <a:cubicBezTo>
                  <a:pt x="2443172" y="956810"/>
                  <a:pt x="2443172" y="956810"/>
                  <a:pt x="2430518" y="969464"/>
                </a:cubicBezTo>
                <a:cubicBezTo>
                  <a:pt x="2430518" y="982118"/>
                  <a:pt x="2430518" y="982118"/>
                  <a:pt x="2417862" y="994773"/>
                </a:cubicBezTo>
                <a:cubicBezTo>
                  <a:pt x="2392554" y="1007424"/>
                  <a:pt x="2354597" y="1070693"/>
                  <a:pt x="2316635" y="1133960"/>
                </a:cubicBezTo>
                <a:lnTo>
                  <a:pt x="2316635" y="1121304"/>
                </a:lnTo>
                <a:lnTo>
                  <a:pt x="2303984" y="1121304"/>
                </a:lnTo>
                <a:lnTo>
                  <a:pt x="2303984" y="1133960"/>
                </a:lnTo>
                <a:lnTo>
                  <a:pt x="2291328" y="1146614"/>
                </a:lnTo>
                <a:cubicBezTo>
                  <a:pt x="2291326" y="1159269"/>
                  <a:pt x="2278676" y="1171917"/>
                  <a:pt x="2291330" y="1171919"/>
                </a:cubicBezTo>
                <a:cubicBezTo>
                  <a:pt x="2278672" y="1184574"/>
                  <a:pt x="2266022" y="1184576"/>
                  <a:pt x="2266020" y="1171919"/>
                </a:cubicBezTo>
                <a:cubicBezTo>
                  <a:pt x="2253368" y="1184576"/>
                  <a:pt x="2253368" y="1197225"/>
                  <a:pt x="2253370" y="1209881"/>
                </a:cubicBezTo>
                <a:lnTo>
                  <a:pt x="2253368" y="1197225"/>
                </a:lnTo>
                <a:lnTo>
                  <a:pt x="2240712" y="1197225"/>
                </a:lnTo>
                <a:cubicBezTo>
                  <a:pt x="2228060" y="1209879"/>
                  <a:pt x="2228060" y="1222535"/>
                  <a:pt x="2228060" y="1222535"/>
                </a:cubicBezTo>
                <a:lnTo>
                  <a:pt x="2228062" y="1235190"/>
                </a:lnTo>
                <a:cubicBezTo>
                  <a:pt x="2215408" y="1235189"/>
                  <a:pt x="2202754" y="1260494"/>
                  <a:pt x="2190100" y="1285800"/>
                </a:cubicBezTo>
                <a:lnTo>
                  <a:pt x="2177446" y="1298454"/>
                </a:lnTo>
                <a:cubicBezTo>
                  <a:pt x="2177447" y="1311110"/>
                  <a:pt x="2164793" y="1311110"/>
                  <a:pt x="2164790" y="1323761"/>
                </a:cubicBezTo>
                <a:lnTo>
                  <a:pt x="2177447" y="1311110"/>
                </a:lnTo>
                <a:lnTo>
                  <a:pt x="2190096" y="1311111"/>
                </a:lnTo>
                <a:cubicBezTo>
                  <a:pt x="2202754" y="1311110"/>
                  <a:pt x="2152136" y="1349069"/>
                  <a:pt x="2164793" y="1374375"/>
                </a:cubicBezTo>
                <a:cubicBezTo>
                  <a:pt x="2152139" y="1387029"/>
                  <a:pt x="2152139" y="1387029"/>
                  <a:pt x="2152140" y="1399685"/>
                </a:cubicBezTo>
                <a:lnTo>
                  <a:pt x="2139485" y="1399683"/>
                </a:lnTo>
                <a:lnTo>
                  <a:pt x="2139485" y="1412336"/>
                </a:lnTo>
                <a:cubicBezTo>
                  <a:pt x="2139484" y="1424993"/>
                  <a:pt x="2126834" y="1424993"/>
                  <a:pt x="2126834" y="1424993"/>
                </a:cubicBezTo>
                <a:lnTo>
                  <a:pt x="2126832" y="1437641"/>
                </a:lnTo>
                <a:cubicBezTo>
                  <a:pt x="2101524" y="1475604"/>
                  <a:pt x="2088870" y="1488257"/>
                  <a:pt x="2076220" y="1475606"/>
                </a:cubicBezTo>
                <a:lnTo>
                  <a:pt x="2076220" y="1513566"/>
                </a:lnTo>
                <a:cubicBezTo>
                  <a:pt x="2063566" y="1526216"/>
                  <a:pt x="2063564" y="1538871"/>
                  <a:pt x="2063564" y="1538871"/>
                </a:cubicBezTo>
                <a:lnTo>
                  <a:pt x="2076215" y="1538868"/>
                </a:lnTo>
                <a:cubicBezTo>
                  <a:pt x="2076216" y="1534650"/>
                  <a:pt x="2076216" y="1530434"/>
                  <a:pt x="2076218" y="1526216"/>
                </a:cubicBezTo>
                <a:cubicBezTo>
                  <a:pt x="2076215" y="1538868"/>
                  <a:pt x="2076215" y="1538868"/>
                  <a:pt x="2088868" y="1551525"/>
                </a:cubicBezTo>
                <a:cubicBezTo>
                  <a:pt x="1949682" y="1779284"/>
                  <a:pt x="1810493" y="2045012"/>
                  <a:pt x="1734570" y="2285429"/>
                </a:cubicBezTo>
                <a:cubicBezTo>
                  <a:pt x="1696612" y="2298080"/>
                  <a:pt x="1696612" y="2336040"/>
                  <a:pt x="1683956" y="2386655"/>
                </a:cubicBezTo>
                <a:cubicBezTo>
                  <a:pt x="1671304" y="2411966"/>
                  <a:pt x="1645996" y="2424618"/>
                  <a:pt x="1645996" y="2449923"/>
                </a:cubicBezTo>
                <a:cubicBezTo>
                  <a:pt x="1620690" y="2487884"/>
                  <a:pt x="1633343" y="2500539"/>
                  <a:pt x="1620689" y="2551154"/>
                </a:cubicBezTo>
                <a:cubicBezTo>
                  <a:pt x="1595384" y="2639726"/>
                  <a:pt x="1506806" y="2829530"/>
                  <a:pt x="1506806" y="2905451"/>
                </a:cubicBezTo>
                <a:lnTo>
                  <a:pt x="1494152" y="2918102"/>
                </a:lnTo>
                <a:cubicBezTo>
                  <a:pt x="1494152" y="2922320"/>
                  <a:pt x="1494155" y="2926538"/>
                  <a:pt x="1494154" y="2930757"/>
                </a:cubicBezTo>
                <a:lnTo>
                  <a:pt x="1506806" y="2930756"/>
                </a:lnTo>
                <a:lnTo>
                  <a:pt x="1506806" y="2943410"/>
                </a:lnTo>
                <a:cubicBezTo>
                  <a:pt x="1494155" y="2968719"/>
                  <a:pt x="1481500" y="2968716"/>
                  <a:pt x="1494152" y="2943410"/>
                </a:cubicBezTo>
                <a:cubicBezTo>
                  <a:pt x="1468846" y="2956065"/>
                  <a:pt x="1456192" y="3019331"/>
                  <a:pt x="1456192" y="3057288"/>
                </a:cubicBezTo>
                <a:cubicBezTo>
                  <a:pt x="1456193" y="3044640"/>
                  <a:pt x="1456193" y="3044640"/>
                  <a:pt x="1443541" y="3057291"/>
                </a:cubicBezTo>
                <a:cubicBezTo>
                  <a:pt x="1443536" y="3069942"/>
                  <a:pt x="1443536" y="3069942"/>
                  <a:pt x="1443536" y="3082601"/>
                </a:cubicBezTo>
                <a:cubicBezTo>
                  <a:pt x="1430885" y="3158522"/>
                  <a:pt x="1430888" y="3133214"/>
                  <a:pt x="1405579" y="3209135"/>
                </a:cubicBezTo>
                <a:lnTo>
                  <a:pt x="1392929" y="3221789"/>
                </a:lnTo>
                <a:lnTo>
                  <a:pt x="1380271" y="3272402"/>
                </a:lnTo>
                <a:lnTo>
                  <a:pt x="1380272" y="3285053"/>
                </a:lnTo>
                <a:lnTo>
                  <a:pt x="1380271" y="3297705"/>
                </a:lnTo>
                <a:lnTo>
                  <a:pt x="1380271" y="3310362"/>
                </a:lnTo>
                <a:cubicBezTo>
                  <a:pt x="1380272" y="3323013"/>
                  <a:pt x="1367617" y="3323018"/>
                  <a:pt x="1367617" y="3348326"/>
                </a:cubicBezTo>
                <a:cubicBezTo>
                  <a:pt x="1380274" y="3348326"/>
                  <a:pt x="1380272" y="3323013"/>
                  <a:pt x="1392925" y="3335669"/>
                </a:cubicBezTo>
                <a:cubicBezTo>
                  <a:pt x="1392925" y="3348320"/>
                  <a:pt x="1392925" y="3348320"/>
                  <a:pt x="1392928" y="3360977"/>
                </a:cubicBezTo>
                <a:lnTo>
                  <a:pt x="1380272" y="3360974"/>
                </a:lnTo>
                <a:lnTo>
                  <a:pt x="1380271" y="3373631"/>
                </a:lnTo>
                <a:lnTo>
                  <a:pt x="1380271" y="3386286"/>
                </a:lnTo>
                <a:lnTo>
                  <a:pt x="1380271" y="3411591"/>
                </a:lnTo>
                <a:cubicBezTo>
                  <a:pt x="1354961" y="3449549"/>
                  <a:pt x="1354961" y="3500165"/>
                  <a:pt x="1329658" y="3512819"/>
                </a:cubicBezTo>
                <a:cubicBezTo>
                  <a:pt x="1329656" y="3525473"/>
                  <a:pt x="1329656" y="3538127"/>
                  <a:pt x="1342310" y="3512817"/>
                </a:cubicBezTo>
                <a:cubicBezTo>
                  <a:pt x="1342310" y="3512817"/>
                  <a:pt x="1342310" y="3550779"/>
                  <a:pt x="1329658" y="3550775"/>
                </a:cubicBezTo>
                <a:cubicBezTo>
                  <a:pt x="1317004" y="3601392"/>
                  <a:pt x="1342310" y="3525473"/>
                  <a:pt x="1354964" y="3550778"/>
                </a:cubicBezTo>
                <a:cubicBezTo>
                  <a:pt x="1354961" y="3538127"/>
                  <a:pt x="1342310" y="3487512"/>
                  <a:pt x="1367618" y="3500165"/>
                </a:cubicBezTo>
                <a:lnTo>
                  <a:pt x="1367618" y="3512819"/>
                </a:lnTo>
                <a:lnTo>
                  <a:pt x="1380271" y="3512817"/>
                </a:lnTo>
                <a:lnTo>
                  <a:pt x="1380271" y="3500166"/>
                </a:lnTo>
                <a:lnTo>
                  <a:pt x="1380271" y="3487512"/>
                </a:lnTo>
                <a:cubicBezTo>
                  <a:pt x="1392926" y="3525473"/>
                  <a:pt x="1405579" y="3386286"/>
                  <a:pt x="1418236" y="3348324"/>
                </a:cubicBezTo>
                <a:lnTo>
                  <a:pt x="1430885" y="3335669"/>
                </a:lnTo>
                <a:lnTo>
                  <a:pt x="1430887" y="3323013"/>
                </a:lnTo>
                <a:lnTo>
                  <a:pt x="1418234" y="3323015"/>
                </a:lnTo>
                <a:cubicBezTo>
                  <a:pt x="1456193" y="3209135"/>
                  <a:pt x="1506806" y="3044640"/>
                  <a:pt x="1544766" y="2918102"/>
                </a:cubicBezTo>
                <a:lnTo>
                  <a:pt x="1544766" y="2880141"/>
                </a:lnTo>
                <a:cubicBezTo>
                  <a:pt x="1557422" y="2842184"/>
                  <a:pt x="1582727" y="2791569"/>
                  <a:pt x="1595382" y="2740952"/>
                </a:cubicBezTo>
                <a:lnTo>
                  <a:pt x="1582726" y="2753607"/>
                </a:lnTo>
                <a:cubicBezTo>
                  <a:pt x="1595381" y="2728298"/>
                  <a:pt x="1620689" y="2690340"/>
                  <a:pt x="1633342" y="2652380"/>
                </a:cubicBezTo>
                <a:cubicBezTo>
                  <a:pt x="1683958" y="2538498"/>
                  <a:pt x="1734570" y="2386658"/>
                  <a:pt x="1785186" y="2285430"/>
                </a:cubicBezTo>
                <a:cubicBezTo>
                  <a:pt x="1823146" y="2196854"/>
                  <a:pt x="1848454" y="2082972"/>
                  <a:pt x="1886414" y="2007050"/>
                </a:cubicBezTo>
                <a:cubicBezTo>
                  <a:pt x="1911718" y="1981743"/>
                  <a:pt x="1924376" y="1969092"/>
                  <a:pt x="1937028" y="1943783"/>
                </a:cubicBezTo>
                <a:cubicBezTo>
                  <a:pt x="1962334" y="1905822"/>
                  <a:pt x="1962336" y="1867862"/>
                  <a:pt x="1987643" y="1829903"/>
                </a:cubicBezTo>
                <a:cubicBezTo>
                  <a:pt x="2000292" y="1804598"/>
                  <a:pt x="2000294" y="1817246"/>
                  <a:pt x="2012950" y="1804596"/>
                </a:cubicBezTo>
                <a:cubicBezTo>
                  <a:pt x="2050910" y="1753983"/>
                  <a:pt x="2088870" y="1589486"/>
                  <a:pt x="2139486" y="1576833"/>
                </a:cubicBezTo>
                <a:lnTo>
                  <a:pt x="2139485" y="1551525"/>
                </a:lnTo>
                <a:cubicBezTo>
                  <a:pt x="2202754" y="1475604"/>
                  <a:pt x="2228062" y="1412336"/>
                  <a:pt x="2266022" y="1349070"/>
                </a:cubicBezTo>
                <a:cubicBezTo>
                  <a:pt x="2291328" y="1298457"/>
                  <a:pt x="2316635" y="1247843"/>
                  <a:pt x="2367250" y="1197225"/>
                </a:cubicBezTo>
                <a:cubicBezTo>
                  <a:pt x="2354597" y="1197225"/>
                  <a:pt x="2392558" y="1159265"/>
                  <a:pt x="2430518" y="1108653"/>
                </a:cubicBezTo>
                <a:cubicBezTo>
                  <a:pt x="2468477" y="1058039"/>
                  <a:pt x="2519093" y="994770"/>
                  <a:pt x="2519094" y="969464"/>
                </a:cubicBezTo>
                <a:cubicBezTo>
                  <a:pt x="2531747" y="956810"/>
                  <a:pt x="2544401" y="956810"/>
                  <a:pt x="2531748" y="982118"/>
                </a:cubicBezTo>
                <a:cubicBezTo>
                  <a:pt x="2544401" y="982118"/>
                  <a:pt x="2557055" y="931503"/>
                  <a:pt x="2544401" y="944157"/>
                </a:cubicBezTo>
                <a:cubicBezTo>
                  <a:pt x="2595014" y="880889"/>
                  <a:pt x="2658282" y="792314"/>
                  <a:pt x="2721552" y="716393"/>
                </a:cubicBezTo>
                <a:cubicBezTo>
                  <a:pt x="2784818" y="627818"/>
                  <a:pt x="2860744" y="551898"/>
                  <a:pt x="2898701" y="501282"/>
                </a:cubicBezTo>
                <a:cubicBezTo>
                  <a:pt x="2911355" y="475977"/>
                  <a:pt x="2936662" y="463322"/>
                  <a:pt x="2924008" y="488633"/>
                </a:cubicBezTo>
                <a:cubicBezTo>
                  <a:pt x="2949317" y="501285"/>
                  <a:pt x="2949318" y="450671"/>
                  <a:pt x="2936662" y="450671"/>
                </a:cubicBezTo>
                <a:cubicBezTo>
                  <a:pt x="3012582" y="387402"/>
                  <a:pt x="3088506" y="311481"/>
                  <a:pt x="3177078" y="210252"/>
                </a:cubicBezTo>
                <a:lnTo>
                  <a:pt x="3189732" y="210252"/>
                </a:lnTo>
                <a:lnTo>
                  <a:pt x="3202388" y="197600"/>
                </a:lnTo>
                <a:cubicBezTo>
                  <a:pt x="3240348" y="134331"/>
                  <a:pt x="3265658" y="172292"/>
                  <a:pt x="3278308" y="121680"/>
                </a:cubicBezTo>
                <a:lnTo>
                  <a:pt x="3290962" y="134334"/>
                </a:lnTo>
                <a:cubicBezTo>
                  <a:pt x="3290962" y="134334"/>
                  <a:pt x="3303614" y="134331"/>
                  <a:pt x="3303617" y="121682"/>
                </a:cubicBezTo>
                <a:cubicBezTo>
                  <a:pt x="3316268" y="109025"/>
                  <a:pt x="3316268" y="109025"/>
                  <a:pt x="3316272" y="96371"/>
                </a:cubicBezTo>
                <a:cubicBezTo>
                  <a:pt x="3341574" y="96371"/>
                  <a:pt x="3354233" y="96371"/>
                  <a:pt x="3379536" y="58410"/>
                </a:cubicBezTo>
                <a:cubicBezTo>
                  <a:pt x="3366882" y="58410"/>
                  <a:pt x="3341574" y="96371"/>
                  <a:pt x="3341576" y="71066"/>
                </a:cubicBezTo>
                <a:lnTo>
                  <a:pt x="3354233" y="58410"/>
                </a:lnTo>
                <a:lnTo>
                  <a:pt x="3341576" y="58410"/>
                </a:lnTo>
                <a:cubicBezTo>
                  <a:pt x="3354230" y="42594"/>
                  <a:pt x="3365302" y="30732"/>
                  <a:pt x="3374990" y="21242"/>
                </a:cubicBezTo>
                <a:lnTo>
                  <a:pt x="3398246" y="0"/>
                </a:lnTo>
                <a:lnTo>
                  <a:pt x="3467874" y="0"/>
                </a:lnTo>
                <a:lnTo>
                  <a:pt x="3444386" y="25196"/>
                </a:lnTo>
                <a:cubicBezTo>
                  <a:pt x="3417497" y="55248"/>
                  <a:pt x="3392190" y="83718"/>
                  <a:pt x="3366882" y="109025"/>
                </a:cubicBezTo>
                <a:cubicBezTo>
                  <a:pt x="3253002" y="222906"/>
                  <a:pt x="3088505" y="374747"/>
                  <a:pt x="2987278" y="513935"/>
                </a:cubicBezTo>
                <a:cubicBezTo>
                  <a:pt x="2961968" y="526593"/>
                  <a:pt x="2961968" y="564552"/>
                  <a:pt x="2961968" y="564552"/>
                </a:cubicBezTo>
                <a:cubicBezTo>
                  <a:pt x="2936662" y="589857"/>
                  <a:pt x="2924008" y="577206"/>
                  <a:pt x="2911354" y="589857"/>
                </a:cubicBezTo>
                <a:cubicBezTo>
                  <a:pt x="2848088" y="640473"/>
                  <a:pt x="2822778" y="729050"/>
                  <a:pt x="2784818" y="767007"/>
                </a:cubicBezTo>
                <a:cubicBezTo>
                  <a:pt x="2772164" y="779661"/>
                  <a:pt x="2759512" y="779661"/>
                  <a:pt x="2759512" y="779661"/>
                </a:cubicBezTo>
                <a:cubicBezTo>
                  <a:pt x="2721554" y="817623"/>
                  <a:pt x="2670936" y="880889"/>
                  <a:pt x="2696243" y="893543"/>
                </a:cubicBezTo>
                <a:cubicBezTo>
                  <a:pt x="2670936" y="931505"/>
                  <a:pt x="2658284" y="918849"/>
                  <a:pt x="2632974" y="956810"/>
                </a:cubicBezTo>
                <a:cubicBezTo>
                  <a:pt x="2569709" y="1058039"/>
                  <a:pt x="2443174" y="1209879"/>
                  <a:pt x="2392558" y="1323761"/>
                </a:cubicBezTo>
                <a:cubicBezTo>
                  <a:pt x="2341943" y="1374375"/>
                  <a:pt x="2291328" y="1450299"/>
                  <a:pt x="2253366" y="1538871"/>
                </a:cubicBezTo>
                <a:cubicBezTo>
                  <a:pt x="2215408" y="1614791"/>
                  <a:pt x="2240714" y="1576832"/>
                  <a:pt x="2190100" y="1640100"/>
                </a:cubicBezTo>
                <a:cubicBezTo>
                  <a:pt x="2139485" y="1728675"/>
                  <a:pt x="2101524" y="1842554"/>
                  <a:pt x="2038253" y="1956437"/>
                </a:cubicBezTo>
                <a:cubicBezTo>
                  <a:pt x="2038256" y="1981745"/>
                  <a:pt x="2012950" y="1994399"/>
                  <a:pt x="2000296" y="2019705"/>
                </a:cubicBezTo>
                <a:cubicBezTo>
                  <a:pt x="1911720" y="2171547"/>
                  <a:pt x="1861108" y="2348691"/>
                  <a:pt x="1810492" y="2462576"/>
                </a:cubicBezTo>
                <a:cubicBezTo>
                  <a:pt x="1747226" y="2601765"/>
                  <a:pt x="1696610" y="2766260"/>
                  <a:pt x="1633343" y="2930756"/>
                </a:cubicBezTo>
                <a:cubicBezTo>
                  <a:pt x="1608035" y="2994026"/>
                  <a:pt x="1570074" y="3057291"/>
                  <a:pt x="1570074" y="3133212"/>
                </a:cubicBezTo>
                <a:lnTo>
                  <a:pt x="1557420" y="3145868"/>
                </a:lnTo>
                <a:lnTo>
                  <a:pt x="1557422" y="3171176"/>
                </a:lnTo>
                <a:cubicBezTo>
                  <a:pt x="1532116" y="3183827"/>
                  <a:pt x="1519462" y="3272402"/>
                  <a:pt x="1494154" y="3323016"/>
                </a:cubicBezTo>
                <a:cubicBezTo>
                  <a:pt x="1506809" y="3323016"/>
                  <a:pt x="1506806" y="3285057"/>
                  <a:pt x="1519463" y="3297708"/>
                </a:cubicBezTo>
                <a:cubicBezTo>
                  <a:pt x="1519460" y="3247095"/>
                  <a:pt x="1557424" y="3247095"/>
                  <a:pt x="1544768" y="3209136"/>
                </a:cubicBezTo>
                <a:cubicBezTo>
                  <a:pt x="1557420" y="3209135"/>
                  <a:pt x="1557422" y="3234441"/>
                  <a:pt x="1570074" y="3196481"/>
                </a:cubicBezTo>
                <a:cubicBezTo>
                  <a:pt x="1570074" y="3209135"/>
                  <a:pt x="1570074" y="3209135"/>
                  <a:pt x="1582726" y="3196481"/>
                </a:cubicBezTo>
                <a:lnTo>
                  <a:pt x="1582727" y="3183827"/>
                </a:lnTo>
                <a:lnTo>
                  <a:pt x="1582726" y="3171176"/>
                </a:lnTo>
                <a:lnTo>
                  <a:pt x="1582726" y="3158520"/>
                </a:lnTo>
                <a:cubicBezTo>
                  <a:pt x="1595382" y="3133212"/>
                  <a:pt x="1608035" y="3044642"/>
                  <a:pt x="1633342" y="3019331"/>
                </a:cubicBezTo>
                <a:cubicBezTo>
                  <a:pt x="1671305" y="2918102"/>
                  <a:pt x="1696612" y="2804219"/>
                  <a:pt x="1734570" y="2766260"/>
                </a:cubicBezTo>
                <a:cubicBezTo>
                  <a:pt x="1747224" y="2715648"/>
                  <a:pt x="1785185" y="2652377"/>
                  <a:pt x="1823146" y="2576459"/>
                </a:cubicBezTo>
                <a:lnTo>
                  <a:pt x="1835800" y="2576456"/>
                </a:lnTo>
                <a:lnTo>
                  <a:pt x="1835800" y="2551151"/>
                </a:lnTo>
                <a:cubicBezTo>
                  <a:pt x="1835798" y="2546934"/>
                  <a:pt x="1835798" y="2542716"/>
                  <a:pt x="1835796" y="2538498"/>
                </a:cubicBezTo>
                <a:cubicBezTo>
                  <a:pt x="1861106" y="2487885"/>
                  <a:pt x="1873760" y="2424618"/>
                  <a:pt x="1899068" y="2361350"/>
                </a:cubicBezTo>
                <a:cubicBezTo>
                  <a:pt x="1899068" y="2361350"/>
                  <a:pt x="1911722" y="2348691"/>
                  <a:pt x="1911720" y="2336043"/>
                </a:cubicBezTo>
                <a:cubicBezTo>
                  <a:pt x="1924374" y="2336042"/>
                  <a:pt x="1937030" y="2323389"/>
                  <a:pt x="1937026" y="2336043"/>
                </a:cubicBezTo>
                <a:cubicBezTo>
                  <a:pt x="1937030" y="2323389"/>
                  <a:pt x="1937028" y="2310734"/>
                  <a:pt x="1937028" y="2298083"/>
                </a:cubicBezTo>
                <a:cubicBezTo>
                  <a:pt x="1949682" y="2285426"/>
                  <a:pt x="1962335" y="2272770"/>
                  <a:pt x="1962336" y="2260122"/>
                </a:cubicBezTo>
                <a:cubicBezTo>
                  <a:pt x="2025604" y="2146238"/>
                  <a:pt x="2076220" y="2019704"/>
                  <a:pt x="2126832" y="1905822"/>
                </a:cubicBezTo>
                <a:lnTo>
                  <a:pt x="2126832" y="1893168"/>
                </a:lnTo>
                <a:lnTo>
                  <a:pt x="2139485" y="1880514"/>
                </a:lnTo>
                <a:cubicBezTo>
                  <a:pt x="2164793" y="1855208"/>
                  <a:pt x="2190100" y="1791941"/>
                  <a:pt x="2202754" y="1791941"/>
                </a:cubicBezTo>
                <a:lnTo>
                  <a:pt x="2202755" y="1753982"/>
                </a:lnTo>
                <a:lnTo>
                  <a:pt x="2215408" y="1741328"/>
                </a:lnTo>
                <a:cubicBezTo>
                  <a:pt x="2240714" y="1728675"/>
                  <a:pt x="2253368" y="1690712"/>
                  <a:pt x="2278674" y="1652753"/>
                </a:cubicBezTo>
                <a:lnTo>
                  <a:pt x="2291330" y="1640102"/>
                </a:lnTo>
                <a:cubicBezTo>
                  <a:pt x="2303984" y="1627446"/>
                  <a:pt x="2303982" y="1614791"/>
                  <a:pt x="2303982" y="1602140"/>
                </a:cubicBezTo>
                <a:cubicBezTo>
                  <a:pt x="2329289" y="1564178"/>
                  <a:pt x="2316632" y="1564179"/>
                  <a:pt x="2354598" y="1526214"/>
                </a:cubicBezTo>
                <a:lnTo>
                  <a:pt x="2367250" y="1513565"/>
                </a:lnTo>
                <a:lnTo>
                  <a:pt x="2367251" y="1500911"/>
                </a:lnTo>
                <a:cubicBezTo>
                  <a:pt x="2455824" y="1361721"/>
                  <a:pt x="2531747" y="1235189"/>
                  <a:pt x="2620324" y="1095999"/>
                </a:cubicBezTo>
                <a:lnTo>
                  <a:pt x="2632978" y="1083344"/>
                </a:lnTo>
                <a:lnTo>
                  <a:pt x="2645628" y="1070693"/>
                </a:lnTo>
                <a:cubicBezTo>
                  <a:pt x="2645627" y="1066475"/>
                  <a:pt x="2645627" y="1062257"/>
                  <a:pt x="2645626" y="1058039"/>
                </a:cubicBezTo>
                <a:lnTo>
                  <a:pt x="2658282" y="1045385"/>
                </a:lnTo>
                <a:lnTo>
                  <a:pt x="2670936" y="1045385"/>
                </a:lnTo>
                <a:cubicBezTo>
                  <a:pt x="2658284" y="1058040"/>
                  <a:pt x="2658284" y="1058040"/>
                  <a:pt x="2658280" y="1070693"/>
                </a:cubicBezTo>
                <a:cubicBezTo>
                  <a:pt x="2658280" y="1070693"/>
                  <a:pt x="2658281" y="1083344"/>
                  <a:pt x="2670938" y="1070693"/>
                </a:cubicBezTo>
                <a:lnTo>
                  <a:pt x="2683589" y="1070693"/>
                </a:lnTo>
                <a:cubicBezTo>
                  <a:pt x="2683586" y="1058039"/>
                  <a:pt x="2696244" y="1058040"/>
                  <a:pt x="2696244" y="1058040"/>
                </a:cubicBezTo>
                <a:cubicBezTo>
                  <a:pt x="2658284" y="1095999"/>
                  <a:pt x="2658284" y="1095999"/>
                  <a:pt x="2632978" y="1159265"/>
                </a:cubicBezTo>
                <a:cubicBezTo>
                  <a:pt x="2632978" y="1108656"/>
                  <a:pt x="2595014" y="1171919"/>
                  <a:pt x="2557054" y="1235189"/>
                </a:cubicBezTo>
                <a:cubicBezTo>
                  <a:pt x="2569706" y="1235192"/>
                  <a:pt x="2582362" y="1222536"/>
                  <a:pt x="2595012" y="1222535"/>
                </a:cubicBezTo>
                <a:cubicBezTo>
                  <a:pt x="2582362" y="1247843"/>
                  <a:pt x="2569708" y="1285800"/>
                  <a:pt x="2531747" y="1323761"/>
                </a:cubicBezTo>
                <a:lnTo>
                  <a:pt x="2531747" y="1311110"/>
                </a:lnTo>
                <a:lnTo>
                  <a:pt x="2531748" y="1298457"/>
                </a:lnTo>
                <a:lnTo>
                  <a:pt x="2519093" y="1311110"/>
                </a:lnTo>
                <a:cubicBezTo>
                  <a:pt x="2519090" y="1323761"/>
                  <a:pt x="2506440" y="1336415"/>
                  <a:pt x="2506440" y="1336415"/>
                </a:cubicBezTo>
                <a:cubicBezTo>
                  <a:pt x="2493790" y="1336415"/>
                  <a:pt x="2481130" y="1361721"/>
                  <a:pt x="2468480" y="1374375"/>
                </a:cubicBezTo>
                <a:cubicBezTo>
                  <a:pt x="2468476" y="1387029"/>
                  <a:pt x="2455824" y="1387029"/>
                  <a:pt x="2455824" y="1387029"/>
                </a:cubicBezTo>
                <a:lnTo>
                  <a:pt x="2455826" y="1399683"/>
                </a:lnTo>
                <a:lnTo>
                  <a:pt x="2468480" y="1399685"/>
                </a:lnTo>
                <a:lnTo>
                  <a:pt x="2417864" y="1450296"/>
                </a:lnTo>
                <a:cubicBezTo>
                  <a:pt x="2430520" y="1450296"/>
                  <a:pt x="2443172" y="1437641"/>
                  <a:pt x="2455824" y="1450296"/>
                </a:cubicBezTo>
                <a:cubicBezTo>
                  <a:pt x="2417864" y="1500911"/>
                  <a:pt x="2430520" y="1475606"/>
                  <a:pt x="2417861" y="1513565"/>
                </a:cubicBezTo>
                <a:cubicBezTo>
                  <a:pt x="2405212" y="1538868"/>
                  <a:pt x="2405210" y="1513565"/>
                  <a:pt x="2379904" y="1551524"/>
                </a:cubicBezTo>
                <a:cubicBezTo>
                  <a:pt x="2392558" y="1551525"/>
                  <a:pt x="2392558" y="1538871"/>
                  <a:pt x="2405212" y="1538868"/>
                </a:cubicBezTo>
                <a:cubicBezTo>
                  <a:pt x="2392558" y="1564181"/>
                  <a:pt x="2379904" y="1576832"/>
                  <a:pt x="2379904" y="1564179"/>
                </a:cubicBezTo>
                <a:cubicBezTo>
                  <a:pt x="2367246" y="1589486"/>
                  <a:pt x="2367246" y="1589486"/>
                  <a:pt x="2367250" y="1602137"/>
                </a:cubicBezTo>
                <a:lnTo>
                  <a:pt x="2354598" y="1614791"/>
                </a:lnTo>
                <a:lnTo>
                  <a:pt x="2341944" y="1627446"/>
                </a:lnTo>
                <a:lnTo>
                  <a:pt x="2341943" y="1640100"/>
                </a:lnTo>
                <a:lnTo>
                  <a:pt x="2347962" y="1639239"/>
                </a:lnTo>
                <a:lnTo>
                  <a:pt x="2340360" y="1652750"/>
                </a:lnTo>
                <a:cubicBezTo>
                  <a:pt x="2335613" y="1659078"/>
                  <a:pt x="2329289" y="1665405"/>
                  <a:pt x="2316635" y="1678061"/>
                </a:cubicBezTo>
                <a:lnTo>
                  <a:pt x="2316636" y="1690712"/>
                </a:lnTo>
                <a:lnTo>
                  <a:pt x="2316635" y="1703367"/>
                </a:lnTo>
                <a:cubicBezTo>
                  <a:pt x="2303982" y="1716018"/>
                  <a:pt x="2291328" y="1741328"/>
                  <a:pt x="2278674" y="1779284"/>
                </a:cubicBezTo>
                <a:cubicBezTo>
                  <a:pt x="2266024" y="1804596"/>
                  <a:pt x="2240714" y="1791941"/>
                  <a:pt x="2240716" y="1829903"/>
                </a:cubicBezTo>
                <a:lnTo>
                  <a:pt x="2228057" y="1829903"/>
                </a:lnTo>
                <a:cubicBezTo>
                  <a:pt x="2228060" y="1817244"/>
                  <a:pt x="2228057" y="1829903"/>
                  <a:pt x="2215409" y="1829900"/>
                </a:cubicBezTo>
                <a:lnTo>
                  <a:pt x="2215409" y="1855205"/>
                </a:lnTo>
                <a:lnTo>
                  <a:pt x="2215408" y="1867862"/>
                </a:lnTo>
                <a:cubicBezTo>
                  <a:pt x="2202754" y="1880516"/>
                  <a:pt x="2202754" y="1893173"/>
                  <a:pt x="2215409" y="1893168"/>
                </a:cubicBezTo>
                <a:cubicBezTo>
                  <a:pt x="2190101" y="1943783"/>
                  <a:pt x="2152139" y="1956437"/>
                  <a:pt x="2152139" y="1994397"/>
                </a:cubicBezTo>
                <a:cubicBezTo>
                  <a:pt x="2152139" y="1994397"/>
                  <a:pt x="2139485" y="2007051"/>
                  <a:pt x="2139485" y="2019704"/>
                </a:cubicBezTo>
                <a:lnTo>
                  <a:pt x="2139486" y="2032355"/>
                </a:lnTo>
                <a:lnTo>
                  <a:pt x="2139485" y="2045012"/>
                </a:lnTo>
                <a:cubicBezTo>
                  <a:pt x="2126832" y="2070317"/>
                  <a:pt x="2114180" y="2082972"/>
                  <a:pt x="2101526" y="2095623"/>
                </a:cubicBezTo>
                <a:cubicBezTo>
                  <a:pt x="2120505" y="2105114"/>
                  <a:pt x="2089662" y="2121723"/>
                  <a:pt x="2083730" y="2134771"/>
                </a:cubicBezTo>
                <a:lnTo>
                  <a:pt x="2088130" y="2144585"/>
                </a:lnTo>
                <a:lnTo>
                  <a:pt x="2087437" y="2146015"/>
                </a:lnTo>
                <a:cubicBezTo>
                  <a:pt x="2086893" y="2147621"/>
                  <a:pt x="2087289" y="2147819"/>
                  <a:pt x="2088870" y="2146236"/>
                </a:cubicBezTo>
                <a:lnTo>
                  <a:pt x="2088130" y="2144585"/>
                </a:lnTo>
                <a:lnTo>
                  <a:pt x="2091639" y="2137342"/>
                </a:lnTo>
                <a:cubicBezTo>
                  <a:pt x="2104689" y="2113026"/>
                  <a:pt x="2142649" y="2051340"/>
                  <a:pt x="2152139" y="2032358"/>
                </a:cubicBezTo>
                <a:cubicBezTo>
                  <a:pt x="2164790" y="2032358"/>
                  <a:pt x="2164793" y="2019704"/>
                  <a:pt x="2164793" y="2019704"/>
                </a:cubicBezTo>
                <a:lnTo>
                  <a:pt x="2177447" y="2007050"/>
                </a:lnTo>
                <a:cubicBezTo>
                  <a:pt x="2177447" y="1994397"/>
                  <a:pt x="2177447" y="1994397"/>
                  <a:pt x="2164794" y="1994397"/>
                </a:cubicBezTo>
                <a:cubicBezTo>
                  <a:pt x="2164793" y="1981743"/>
                  <a:pt x="2177446" y="1981743"/>
                  <a:pt x="2177447" y="1969089"/>
                </a:cubicBezTo>
                <a:cubicBezTo>
                  <a:pt x="2190101" y="1943783"/>
                  <a:pt x="2190100" y="1956437"/>
                  <a:pt x="2202754" y="1956437"/>
                </a:cubicBezTo>
                <a:cubicBezTo>
                  <a:pt x="2215408" y="1931130"/>
                  <a:pt x="2202754" y="1918476"/>
                  <a:pt x="2228057" y="1880516"/>
                </a:cubicBezTo>
                <a:cubicBezTo>
                  <a:pt x="2228058" y="1876299"/>
                  <a:pt x="2228058" y="1872080"/>
                  <a:pt x="2228060" y="1867862"/>
                </a:cubicBezTo>
                <a:lnTo>
                  <a:pt x="2240714" y="1867862"/>
                </a:lnTo>
                <a:cubicBezTo>
                  <a:pt x="2240714" y="1867862"/>
                  <a:pt x="2253365" y="1867862"/>
                  <a:pt x="2253370" y="1855208"/>
                </a:cubicBezTo>
                <a:lnTo>
                  <a:pt x="2253370" y="1842557"/>
                </a:lnTo>
                <a:lnTo>
                  <a:pt x="2240712" y="1842554"/>
                </a:lnTo>
                <a:cubicBezTo>
                  <a:pt x="2278674" y="1804596"/>
                  <a:pt x="2291328" y="1766636"/>
                  <a:pt x="2329289" y="1703364"/>
                </a:cubicBezTo>
                <a:lnTo>
                  <a:pt x="2329290" y="1716023"/>
                </a:lnTo>
                <a:lnTo>
                  <a:pt x="2341943" y="1703366"/>
                </a:lnTo>
                <a:lnTo>
                  <a:pt x="2341943" y="1690709"/>
                </a:lnTo>
                <a:cubicBezTo>
                  <a:pt x="2354597" y="1665407"/>
                  <a:pt x="2341944" y="1665407"/>
                  <a:pt x="2367250" y="1627446"/>
                </a:cubicBezTo>
                <a:lnTo>
                  <a:pt x="2379904" y="1627443"/>
                </a:lnTo>
                <a:lnTo>
                  <a:pt x="2379904" y="1614791"/>
                </a:lnTo>
                <a:cubicBezTo>
                  <a:pt x="2379902" y="1610574"/>
                  <a:pt x="2379902" y="1606356"/>
                  <a:pt x="2379900" y="1602140"/>
                </a:cubicBezTo>
                <a:cubicBezTo>
                  <a:pt x="2408372" y="1573670"/>
                  <a:pt x="2436844" y="1509612"/>
                  <a:pt x="2465318" y="1468683"/>
                </a:cubicBezTo>
                <a:lnTo>
                  <a:pt x="2481902" y="1450599"/>
                </a:lnTo>
                <a:lnTo>
                  <a:pt x="2579830" y="1265063"/>
                </a:lnTo>
                <a:cubicBezTo>
                  <a:pt x="2717198" y="1022537"/>
                  <a:pt x="2870026" y="786258"/>
                  <a:pt x="3038504" y="556154"/>
                </a:cubicBezTo>
                <a:cubicBezTo>
                  <a:pt x="3120582" y="445845"/>
                  <a:pt x="3206686" y="339281"/>
                  <a:pt x="3295808" y="235523"/>
                </a:cubicBezTo>
                <a:lnTo>
                  <a:pt x="3509334" y="0"/>
                </a:lnTo>
                <a:lnTo>
                  <a:pt x="9854218" y="0"/>
                </a:lnTo>
                <a:lnTo>
                  <a:pt x="9854218" y="10287000"/>
                </a:lnTo>
                <a:lnTo>
                  <a:pt x="4569194" y="10287000"/>
                </a:lnTo>
                <a:lnTo>
                  <a:pt x="4512034" y="10239735"/>
                </a:lnTo>
                <a:cubicBezTo>
                  <a:pt x="4483562" y="10219173"/>
                  <a:pt x="4455092" y="10200194"/>
                  <a:pt x="4429784" y="10181214"/>
                </a:cubicBezTo>
                <a:cubicBezTo>
                  <a:pt x="4429784" y="10168562"/>
                  <a:pt x="4417133" y="10168558"/>
                  <a:pt x="4404479" y="10143254"/>
                </a:cubicBezTo>
                <a:lnTo>
                  <a:pt x="4404479" y="10130601"/>
                </a:lnTo>
                <a:cubicBezTo>
                  <a:pt x="4391824" y="10117947"/>
                  <a:pt x="4391824" y="10105293"/>
                  <a:pt x="4366518" y="10092639"/>
                </a:cubicBezTo>
                <a:cubicBezTo>
                  <a:pt x="4366518" y="10092639"/>
                  <a:pt x="4366520" y="10079986"/>
                  <a:pt x="4353864" y="10079984"/>
                </a:cubicBezTo>
                <a:lnTo>
                  <a:pt x="4341210" y="10079986"/>
                </a:lnTo>
                <a:cubicBezTo>
                  <a:pt x="4341206" y="10092639"/>
                  <a:pt x="4353864" y="10092639"/>
                  <a:pt x="4366518" y="10105293"/>
                </a:cubicBezTo>
                <a:lnTo>
                  <a:pt x="4379172" y="10130601"/>
                </a:lnTo>
                <a:cubicBezTo>
                  <a:pt x="4379171" y="10134819"/>
                  <a:pt x="4379171" y="10139036"/>
                  <a:pt x="4379170" y="10143254"/>
                </a:cubicBezTo>
                <a:lnTo>
                  <a:pt x="4366518" y="10143254"/>
                </a:lnTo>
                <a:lnTo>
                  <a:pt x="4366518" y="10130601"/>
                </a:lnTo>
                <a:lnTo>
                  <a:pt x="4353864" y="10130602"/>
                </a:lnTo>
                <a:lnTo>
                  <a:pt x="4341210" y="10117947"/>
                </a:lnTo>
                <a:cubicBezTo>
                  <a:pt x="4341209" y="10105293"/>
                  <a:pt x="4328555" y="10105293"/>
                  <a:pt x="4328555" y="10105293"/>
                </a:cubicBezTo>
                <a:lnTo>
                  <a:pt x="4328555" y="10092639"/>
                </a:lnTo>
                <a:cubicBezTo>
                  <a:pt x="4328555" y="10092639"/>
                  <a:pt x="4328555" y="10079986"/>
                  <a:pt x="4315904" y="10079986"/>
                </a:cubicBezTo>
                <a:lnTo>
                  <a:pt x="4303250" y="10079985"/>
                </a:lnTo>
                <a:lnTo>
                  <a:pt x="4303250" y="10092639"/>
                </a:lnTo>
                <a:cubicBezTo>
                  <a:pt x="4315904" y="10092639"/>
                  <a:pt x="4315901" y="10105293"/>
                  <a:pt x="4315901" y="10105293"/>
                </a:cubicBezTo>
                <a:lnTo>
                  <a:pt x="4303250" y="10117946"/>
                </a:lnTo>
                <a:lnTo>
                  <a:pt x="4252632" y="10067332"/>
                </a:lnTo>
                <a:cubicBezTo>
                  <a:pt x="4252636" y="10079986"/>
                  <a:pt x="4265290" y="10092639"/>
                  <a:pt x="4252636" y="10092639"/>
                </a:cubicBezTo>
                <a:cubicBezTo>
                  <a:pt x="4252636" y="10092639"/>
                  <a:pt x="4239980" y="10079986"/>
                  <a:pt x="4227329" y="10079986"/>
                </a:cubicBezTo>
                <a:lnTo>
                  <a:pt x="4189368" y="10042026"/>
                </a:lnTo>
                <a:cubicBezTo>
                  <a:pt x="4176714" y="10029372"/>
                  <a:pt x="4151405" y="10016718"/>
                  <a:pt x="4138756" y="10004066"/>
                </a:cubicBezTo>
                <a:cubicBezTo>
                  <a:pt x="4151405" y="10004066"/>
                  <a:pt x="4164062" y="9991413"/>
                  <a:pt x="4189368" y="10016718"/>
                </a:cubicBezTo>
                <a:cubicBezTo>
                  <a:pt x="4176716" y="9978759"/>
                  <a:pt x="4164062" y="9991413"/>
                  <a:pt x="4126100" y="9940797"/>
                </a:cubicBezTo>
                <a:lnTo>
                  <a:pt x="4113446" y="9928143"/>
                </a:lnTo>
                <a:cubicBezTo>
                  <a:pt x="4126100" y="9940797"/>
                  <a:pt x="4138754" y="9928143"/>
                  <a:pt x="4138754" y="9928143"/>
                </a:cubicBezTo>
                <a:cubicBezTo>
                  <a:pt x="4138751" y="9915490"/>
                  <a:pt x="4126100" y="9915490"/>
                  <a:pt x="4126100" y="9902836"/>
                </a:cubicBezTo>
                <a:lnTo>
                  <a:pt x="4113446" y="9890182"/>
                </a:lnTo>
                <a:lnTo>
                  <a:pt x="4100792" y="9877532"/>
                </a:lnTo>
                <a:cubicBezTo>
                  <a:pt x="4088141" y="9890180"/>
                  <a:pt x="4100790" y="9890182"/>
                  <a:pt x="4100790" y="9890182"/>
                </a:cubicBezTo>
                <a:lnTo>
                  <a:pt x="4113444" y="9902836"/>
                </a:lnTo>
                <a:lnTo>
                  <a:pt x="4113446" y="9915490"/>
                </a:lnTo>
                <a:lnTo>
                  <a:pt x="4062832" y="9877532"/>
                </a:lnTo>
                <a:cubicBezTo>
                  <a:pt x="4075486" y="9902834"/>
                  <a:pt x="4050180" y="9877532"/>
                  <a:pt x="4062832" y="9902836"/>
                </a:cubicBezTo>
                <a:cubicBezTo>
                  <a:pt x="4037526" y="9890182"/>
                  <a:pt x="4024871" y="9877530"/>
                  <a:pt x="4012217" y="9877532"/>
                </a:cubicBezTo>
                <a:lnTo>
                  <a:pt x="4012217" y="9890182"/>
                </a:lnTo>
                <a:cubicBezTo>
                  <a:pt x="4012217" y="9877532"/>
                  <a:pt x="3999564" y="9864876"/>
                  <a:pt x="3999564" y="9864876"/>
                </a:cubicBezTo>
                <a:lnTo>
                  <a:pt x="3986910" y="9852222"/>
                </a:lnTo>
                <a:lnTo>
                  <a:pt x="3974254" y="9839571"/>
                </a:lnTo>
                <a:cubicBezTo>
                  <a:pt x="3974255" y="9843788"/>
                  <a:pt x="3974256" y="9848006"/>
                  <a:pt x="3974256" y="9852222"/>
                </a:cubicBezTo>
                <a:cubicBezTo>
                  <a:pt x="3961601" y="9852219"/>
                  <a:pt x="3948950" y="9839571"/>
                  <a:pt x="3936298" y="9826916"/>
                </a:cubicBezTo>
                <a:lnTo>
                  <a:pt x="3936296" y="9814262"/>
                </a:lnTo>
                <a:lnTo>
                  <a:pt x="3936298" y="9801610"/>
                </a:lnTo>
                <a:lnTo>
                  <a:pt x="3923640" y="9801610"/>
                </a:lnTo>
                <a:lnTo>
                  <a:pt x="3910988" y="9801610"/>
                </a:lnTo>
                <a:lnTo>
                  <a:pt x="3898332" y="9788956"/>
                </a:lnTo>
                <a:cubicBezTo>
                  <a:pt x="3898334" y="9784738"/>
                  <a:pt x="3898336" y="9780520"/>
                  <a:pt x="3898336" y="9776301"/>
                </a:cubicBezTo>
                <a:lnTo>
                  <a:pt x="3898336" y="9750996"/>
                </a:lnTo>
                <a:lnTo>
                  <a:pt x="3885682" y="9750996"/>
                </a:lnTo>
                <a:lnTo>
                  <a:pt x="3885680" y="9763644"/>
                </a:lnTo>
                <a:lnTo>
                  <a:pt x="3885682" y="9776301"/>
                </a:lnTo>
                <a:lnTo>
                  <a:pt x="3847722" y="9738340"/>
                </a:lnTo>
                <a:cubicBezTo>
                  <a:pt x="3835066" y="9738340"/>
                  <a:pt x="3847722" y="9750998"/>
                  <a:pt x="3847722" y="9763647"/>
                </a:cubicBezTo>
                <a:cubicBezTo>
                  <a:pt x="3847722" y="9750998"/>
                  <a:pt x="3835064" y="9750996"/>
                  <a:pt x="3835066" y="9738340"/>
                </a:cubicBezTo>
                <a:lnTo>
                  <a:pt x="3835067" y="9725686"/>
                </a:lnTo>
                <a:cubicBezTo>
                  <a:pt x="3809762" y="9687726"/>
                  <a:pt x="3784452" y="9662421"/>
                  <a:pt x="3759146" y="9649764"/>
                </a:cubicBezTo>
                <a:lnTo>
                  <a:pt x="3759146" y="9662421"/>
                </a:lnTo>
                <a:lnTo>
                  <a:pt x="3746490" y="9637114"/>
                </a:lnTo>
                <a:cubicBezTo>
                  <a:pt x="3746492" y="9624458"/>
                  <a:pt x="3746492" y="9624458"/>
                  <a:pt x="3733836" y="9624460"/>
                </a:cubicBezTo>
                <a:lnTo>
                  <a:pt x="3733836" y="9636734"/>
                </a:lnTo>
                <a:lnTo>
                  <a:pt x="3640518" y="9540630"/>
                </a:lnTo>
                <a:cubicBezTo>
                  <a:pt x="3607301" y="9510579"/>
                  <a:pt x="3575669" y="9485271"/>
                  <a:pt x="3544034" y="9459962"/>
                </a:cubicBezTo>
                <a:cubicBezTo>
                  <a:pt x="3480766" y="9409350"/>
                  <a:pt x="3417497" y="9346084"/>
                  <a:pt x="3379536" y="9270158"/>
                </a:cubicBezTo>
                <a:cubicBezTo>
                  <a:pt x="3328919" y="9219549"/>
                  <a:pt x="3253002" y="9181588"/>
                  <a:pt x="3240347" y="9118320"/>
                </a:cubicBezTo>
                <a:cubicBezTo>
                  <a:pt x="3215042" y="9093014"/>
                  <a:pt x="3227696" y="9118320"/>
                  <a:pt x="3227696" y="9118320"/>
                </a:cubicBezTo>
                <a:cubicBezTo>
                  <a:pt x="3202388" y="9055053"/>
                  <a:pt x="3126467" y="8991784"/>
                  <a:pt x="3075851" y="8903210"/>
                </a:cubicBezTo>
                <a:cubicBezTo>
                  <a:pt x="3063198" y="8903210"/>
                  <a:pt x="3075852" y="8915864"/>
                  <a:pt x="3063197" y="8915864"/>
                </a:cubicBezTo>
                <a:cubicBezTo>
                  <a:pt x="2999926" y="8839942"/>
                  <a:pt x="3088506" y="8890558"/>
                  <a:pt x="3025236" y="8827288"/>
                </a:cubicBezTo>
                <a:cubicBezTo>
                  <a:pt x="3012584" y="8827288"/>
                  <a:pt x="3037889" y="8852592"/>
                  <a:pt x="3025238" y="8865246"/>
                </a:cubicBezTo>
                <a:cubicBezTo>
                  <a:pt x="2987276" y="8801984"/>
                  <a:pt x="2898704" y="8726062"/>
                  <a:pt x="2924008" y="8688099"/>
                </a:cubicBezTo>
                <a:cubicBezTo>
                  <a:pt x="2911354" y="8675448"/>
                  <a:pt x="2886047" y="8662794"/>
                  <a:pt x="2873393" y="8650138"/>
                </a:cubicBezTo>
                <a:lnTo>
                  <a:pt x="2873393" y="8637488"/>
                </a:lnTo>
                <a:cubicBezTo>
                  <a:pt x="2873392" y="8633270"/>
                  <a:pt x="2873393" y="8629052"/>
                  <a:pt x="2873392" y="8624834"/>
                </a:cubicBezTo>
                <a:lnTo>
                  <a:pt x="2860744" y="8624834"/>
                </a:lnTo>
                <a:cubicBezTo>
                  <a:pt x="2721550" y="8422374"/>
                  <a:pt x="2607670" y="8245227"/>
                  <a:pt x="2506439" y="8042772"/>
                </a:cubicBezTo>
                <a:lnTo>
                  <a:pt x="2503470" y="8056143"/>
                </a:lnTo>
                <a:lnTo>
                  <a:pt x="2422608" y="7928891"/>
                </a:lnTo>
                <a:cubicBezTo>
                  <a:pt x="2395720" y="7875114"/>
                  <a:pt x="2373578" y="7821335"/>
                  <a:pt x="2354598" y="7777047"/>
                </a:cubicBezTo>
                <a:lnTo>
                  <a:pt x="2316635" y="7701123"/>
                </a:lnTo>
                <a:cubicBezTo>
                  <a:pt x="2303982" y="7688474"/>
                  <a:pt x="2278672" y="7650515"/>
                  <a:pt x="2266022" y="7637859"/>
                </a:cubicBezTo>
                <a:lnTo>
                  <a:pt x="2266022" y="7625202"/>
                </a:lnTo>
                <a:cubicBezTo>
                  <a:pt x="2240714" y="7536630"/>
                  <a:pt x="2215409" y="7498670"/>
                  <a:pt x="2164794" y="7397444"/>
                </a:cubicBezTo>
                <a:lnTo>
                  <a:pt x="2164793" y="7384790"/>
                </a:lnTo>
                <a:cubicBezTo>
                  <a:pt x="2152139" y="7359483"/>
                  <a:pt x="2139482" y="7334177"/>
                  <a:pt x="2126832" y="7334175"/>
                </a:cubicBezTo>
                <a:lnTo>
                  <a:pt x="2114180" y="7346829"/>
                </a:lnTo>
                <a:cubicBezTo>
                  <a:pt x="2114178" y="7359480"/>
                  <a:pt x="2126832" y="7372134"/>
                  <a:pt x="2126832" y="7372134"/>
                </a:cubicBezTo>
                <a:cubicBezTo>
                  <a:pt x="2139486" y="7372133"/>
                  <a:pt x="2139486" y="7384790"/>
                  <a:pt x="2139485" y="7397444"/>
                </a:cubicBezTo>
                <a:cubicBezTo>
                  <a:pt x="2152139" y="7460709"/>
                  <a:pt x="2177447" y="7536632"/>
                  <a:pt x="2202752" y="7549284"/>
                </a:cubicBezTo>
                <a:cubicBezTo>
                  <a:pt x="2190101" y="7561940"/>
                  <a:pt x="2215408" y="7587245"/>
                  <a:pt x="2240714" y="7637859"/>
                </a:cubicBezTo>
                <a:cubicBezTo>
                  <a:pt x="2240714" y="7637859"/>
                  <a:pt x="2253368" y="7650515"/>
                  <a:pt x="2253368" y="7663166"/>
                </a:cubicBezTo>
                <a:cubicBezTo>
                  <a:pt x="2256530" y="7672658"/>
                  <a:pt x="2261276" y="7686891"/>
                  <a:pt x="2267009" y="7702709"/>
                </a:cubicBezTo>
                <a:lnTo>
                  <a:pt x="2268472" y="7706363"/>
                </a:lnTo>
                <a:lnTo>
                  <a:pt x="2183772" y="7539792"/>
                </a:lnTo>
                <a:cubicBezTo>
                  <a:pt x="2152139" y="7482852"/>
                  <a:pt x="2120506" y="7429077"/>
                  <a:pt x="2088870" y="7372134"/>
                </a:cubicBezTo>
                <a:lnTo>
                  <a:pt x="2076218" y="7359483"/>
                </a:lnTo>
                <a:lnTo>
                  <a:pt x="2076220" y="7346829"/>
                </a:lnTo>
                <a:cubicBezTo>
                  <a:pt x="2025605" y="7194987"/>
                  <a:pt x="1974989" y="7030493"/>
                  <a:pt x="1911722" y="6815382"/>
                </a:cubicBezTo>
                <a:cubicBezTo>
                  <a:pt x="1899066" y="6777419"/>
                  <a:pt x="1873760" y="6726804"/>
                  <a:pt x="1861103" y="6676193"/>
                </a:cubicBezTo>
                <a:cubicBezTo>
                  <a:pt x="1861106" y="6650886"/>
                  <a:pt x="1861106" y="6612926"/>
                  <a:pt x="1861103" y="6625580"/>
                </a:cubicBezTo>
                <a:cubicBezTo>
                  <a:pt x="1861106" y="6621362"/>
                  <a:pt x="1861104" y="6617144"/>
                  <a:pt x="1861106" y="6612926"/>
                </a:cubicBezTo>
                <a:cubicBezTo>
                  <a:pt x="1848454" y="6600269"/>
                  <a:pt x="1861106" y="6574965"/>
                  <a:pt x="1861106" y="6574965"/>
                </a:cubicBezTo>
                <a:cubicBezTo>
                  <a:pt x="1848455" y="6511697"/>
                  <a:pt x="1823146" y="6435776"/>
                  <a:pt x="1810492" y="6359856"/>
                </a:cubicBezTo>
                <a:lnTo>
                  <a:pt x="1810492" y="6347198"/>
                </a:lnTo>
                <a:lnTo>
                  <a:pt x="1810493" y="6334550"/>
                </a:lnTo>
                <a:cubicBezTo>
                  <a:pt x="1810492" y="6321896"/>
                  <a:pt x="1797840" y="6309240"/>
                  <a:pt x="1797844" y="6296589"/>
                </a:cubicBezTo>
                <a:cubicBezTo>
                  <a:pt x="1797840" y="6292370"/>
                  <a:pt x="1797840" y="6288152"/>
                  <a:pt x="1797840" y="6283932"/>
                </a:cubicBezTo>
                <a:cubicBezTo>
                  <a:pt x="1797842" y="6258626"/>
                  <a:pt x="1785185" y="6233319"/>
                  <a:pt x="1785185" y="6208014"/>
                </a:cubicBezTo>
                <a:cubicBezTo>
                  <a:pt x="1785185" y="6195359"/>
                  <a:pt x="1785185" y="6182703"/>
                  <a:pt x="1797839" y="6182706"/>
                </a:cubicBezTo>
                <a:cubicBezTo>
                  <a:pt x="1797839" y="6170052"/>
                  <a:pt x="1785185" y="6157400"/>
                  <a:pt x="1785185" y="6170054"/>
                </a:cubicBezTo>
                <a:cubicBezTo>
                  <a:pt x="1785185" y="6144743"/>
                  <a:pt x="1772532" y="6132092"/>
                  <a:pt x="1772531" y="6106785"/>
                </a:cubicBezTo>
                <a:lnTo>
                  <a:pt x="1785185" y="6094131"/>
                </a:lnTo>
                <a:cubicBezTo>
                  <a:pt x="1772531" y="6005558"/>
                  <a:pt x="1772531" y="5929635"/>
                  <a:pt x="1759878" y="5841063"/>
                </a:cubicBezTo>
                <a:cubicBezTo>
                  <a:pt x="1759878" y="5853714"/>
                  <a:pt x="1772531" y="5853713"/>
                  <a:pt x="1772531" y="5853713"/>
                </a:cubicBezTo>
                <a:cubicBezTo>
                  <a:pt x="1759878" y="5803103"/>
                  <a:pt x="1759878" y="5765139"/>
                  <a:pt x="1747224" y="5714525"/>
                </a:cubicBezTo>
                <a:cubicBezTo>
                  <a:pt x="1734570" y="5613297"/>
                  <a:pt x="1734570" y="5512070"/>
                  <a:pt x="1747224" y="5410842"/>
                </a:cubicBezTo>
                <a:lnTo>
                  <a:pt x="1759878" y="5398188"/>
                </a:lnTo>
                <a:lnTo>
                  <a:pt x="1759878" y="5372882"/>
                </a:lnTo>
                <a:cubicBezTo>
                  <a:pt x="1759882" y="5360228"/>
                  <a:pt x="1759882" y="5360228"/>
                  <a:pt x="1747224" y="5360225"/>
                </a:cubicBezTo>
                <a:lnTo>
                  <a:pt x="1747224" y="5347577"/>
                </a:lnTo>
                <a:cubicBezTo>
                  <a:pt x="1747228" y="5334921"/>
                  <a:pt x="1747224" y="5322264"/>
                  <a:pt x="1747224" y="5309616"/>
                </a:cubicBezTo>
                <a:lnTo>
                  <a:pt x="1747224" y="5284304"/>
                </a:lnTo>
                <a:cubicBezTo>
                  <a:pt x="1747224" y="5271653"/>
                  <a:pt x="1747228" y="5246345"/>
                  <a:pt x="1734570" y="5221037"/>
                </a:cubicBezTo>
                <a:lnTo>
                  <a:pt x="1747226" y="5221038"/>
                </a:lnTo>
                <a:lnTo>
                  <a:pt x="1747224" y="5208387"/>
                </a:lnTo>
                <a:lnTo>
                  <a:pt x="1747224" y="5195732"/>
                </a:lnTo>
                <a:lnTo>
                  <a:pt x="1734570" y="5195730"/>
                </a:lnTo>
                <a:lnTo>
                  <a:pt x="1734570" y="5157770"/>
                </a:lnTo>
                <a:cubicBezTo>
                  <a:pt x="1747224" y="5170427"/>
                  <a:pt x="1747226" y="5183078"/>
                  <a:pt x="1759878" y="5183081"/>
                </a:cubicBezTo>
                <a:lnTo>
                  <a:pt x="1759878" y="5170424"/>
                </a:lnTo>
                <a:cubicBezTo>
                  <a:pt x="1823147" y="5334920"/>
                  <a:pt x="1848455" y="5524721"/>
                  <a:pt x="1861106" y="5663910"/>
                </a:cubicBezTo>
                <a:cubicBezTo>
                  <a:pt x="1861108" y="5676567"/>
                  <a:pt x="1861108" y="5676567"/>
                  <a:pt x="1873760" y="5676567"/>
                </a:cubicBezTo>
                <a:lnTo>
                  <a:pt x="1873760" y="5663913"/>
                </a:lnTo>
                <a:lnTo>
                  <a:pt x="1873762" y="5651256"/>
                </a:lnTo>
                <a:cubicBezTo>
                  <a:pt x="1861106" y="5512070"/>
                  <a:pt x="1835801" y="5309616"/>
                  <a:pt x="1772531" y="5145120"/>
                </a:cubicBezTo>
                <a:cubicBezTo>
                  <a:pt x="1772531" y="5081852"/>
                  <a:pt x="1747226" y="5069196"/>
                  <a:pt x="1747226" y="5005928"/>
                </a:cubicBezTo>
                <a:cubicBezTo>
                  <a:pt x="1734572" y="4980623"/>
                  <a:pt x="1721916" y="4980624"/>
                  <a:pt x="1709264" y="4980624"/>
                </a:cubicBezTo>
                <a:cubicBezTo>
                  <a:pt x="1709266" y="4930010"/>
                  <a:pt x="1709266" y="4879394"/>
                  <a:pt x="1721916" y="4828781"/>
                </a:cubicBezTo>
                <a:cubicBezTo>
                  <a:pt x="1721916" y="4828781"/>
                  <a:pt x="1721916" y="4816124"/>
                  <a:pt x="1709264" y="4816124"/>
                </a:cubicBezTo>
                <a:lnTo>
                  <a:pt x="1709266" y="4828781"/>
                </a:lnTo>
                <a:cubicBezTo>
                  <a:pt x="1696610" y="4879395"/>
                  <a:pt x="1696610" y="4930007"/>
                  <a:pt x="1696613" y="4980624"/>
                </a:cubicBezTo>
                <a:cubicBezTo>
                  <a:pt x="1696613" y="4993277"/>
                  <a:pt x="1683956" y="4993277"/>
                  <a:pt x="1683956" y="4993277"/>
                </a:cubicBezTo>
                <a:cubicBezTo>
                  <a:pt x="1683956" y="4993277"/>
                  <a:pt x="1683956" y="4980623"/>
                  <a:pt x="1671304" y="4980624"/>
                </a:cubicBezTo>
                <a:cubicBezTo>
                  <a:pt x="1658650" y="4967967"/>
                  <a:pt x="1671304" y="4955313"/>
                  <a:pt x="1671304" y="4917353"/>
                </a:cubicBezTo>
                <a:cubicBezTo>
                  <a:pt x="1671305" y="4904702"/>
                  <a:pt x="1683956" y="4879392"/>
                  <a:pt x="1683956" y="4866741"/>
                </a:cubicBezTo>
                <a:lnTo>
                  <a:pt x="1683958" y="4854090"/>
                </a:lnTo>
                <a:lnTo>
                  <a:pt x="1683956" y="4841432"/>
                </a:lnTo>
                <a:lnTo>
                  <a:pt x="1696610" y="4828776"/>
                </a:lnTo>
                <a:lnTo>
                  <a:pt x="1696610" y="4816127"/>
                </a:lnTo>
                <a:lnTo>
                  <a:pt x="1696610" y="4803474"/>
                </a:lnTo>
                <a:cubicBezTo>
                  <a:pt x="1683956" y="4790820"/>
                  <a:pt x="1683956" y="4790820"/>
                  <a:pt x="1683956" y="4803471"/>
                </a:cubicBezTo>
                <a:lnTo>
                  <a:pt x="1671308" y="4816127"/>
                </a:lnTo>
                <a:cubicBezTo>
                  <a:pt x="1671304" y="4790820"/>
                  <a:pt x="1671304" y="4778163"/>
                  <a:pt x="1671304" y="4752860"/>
                </a:cubicBezTo>
                <a:lnTo>
                  <a:pt x="1671304" y="4727555"/>
                </a:lnTo>
                <a:cubicBezTo>
                  <a:pt x="1671304" y="4714899"/>
                  <a:pt x="1658650" y="4714898"/>
                  <a:pt x="1658650" y="4702250"/>
                </a:cubicBezTo>
                <a:cubicBezTo>
                  <a:pt x="1671304" y="4676942"/>
                  <a:pt x="1671304" y="4651632"/>
                  <a:pt x="1671304" y="4626324"/>
                </a:cubicBezTo>
                <a:cubicBezTo>
                  <a:pt x="1671305" y="4601019"/>
                  <a:pt x="1671304" y="4575713"/>
                  <a:pt x="1683956" y="4563062"/>
                </a:cubicBezTo>
                <a:lnTo>
                  <a:pt x="1683958" y="4588368"/>
                </a:lnTo>
                <a:cubicBezTo>
                  <a:pt x="1696612" y="4601021"/>
                  <a:pt x="1683956" y="4626326"/>
                  <a:pt x="1683960" y="4638981"/>
                </a:cubicBezTo>
                <a:cubicBezTo>
                  <a:pt x="1683958" y="4643199"/>
                  <a:pt x="1683958" y="4647417"/>
                  <a:pt x="1683958" y="4651632"/>
                </a:cubicBezTo>
                <a:cubicBezTo>
                  <a:pt x="1683956" y="4676942"/>
                  <a:pt x="1696610" y="4702250"/>
                  <a:pt x="1696612" y="4714899"/>
                </a:cubicBezTo>
                <a:lnTo>
                  <a:pt x="1709264" y="4714898"/>
                </a:lnTo>
                <a:lnTo>
                  <a:pt x="1721918" y="4702250"/>
                </a:lnTo>
                <a:lnTo>
                  <a:pt x="1734570" y="4689593"/>
                </a:lnTo>
                <a:lnTo>
                  <a:pt x="1734570" y="4676942"/>
                </a:lnTo>
                <a:cubicBezTo>
                  <a:pt x="1734572" y="4672725"/>
                  <a:pt x="1734572" y="4668506"/>
                  <a:pt x="1734574" y="4664288"/>
                </a:cubicBezTo>
                <a:lnTo>
                  <a:pt x="1721916" y="4676942"/>
                </a:lnTo>
                <a:lnTo>
                  <a:pt x="1709264" y="4689597"/>
                </a:lnTo>
                <a:cubicBezTo>
                  <a:pt x="1709264" y="4676942"/>
                  <a:pt x="1696613" y="4664288"/>
                  <a:pt x="1696610" y="4651632"/>
                </a:cubicBezTo>
                <a:lnTo>
                  <a:pt x="1696610" y="4575714"/>
                </a:lnTo>
                <a:lnTo>
                  <a:pt x="1696610" y="4537751"/>
                </a:lnTo>
                <a:lnTo>
                  <a:pt x="1696610" y="4487138"/>
                </a:lnTo>
                <a:cubicBezTo>
                  <a:pt x="1696610" y="4474482"/>
                  <a:pt x="1696610" y="4461833"/>
                  <a:pt x="1709267" y="4436526"/>
                </a:cubicBezTo>
                <a:cubicBezTo>
                  <a:pt x="1709266" y="4432308"/>
                  <a:pt x="1709266" y="4428090"/>
                  <a:pt x="1709264" y="4423871"/>
                </a:cubicBezTo>
                <a:lnTo>
                  <a:pt x="1709264" y="4385910"/>
                </a:lnTo>
                <a:lnTo>
                  <a:pt x="1721916" y="4398566"/>
                </a:lnTo>
                <a:lnTo>
                  <a:pt x="1734570" y="4373259"/>
                </a:lnTo>
                <a:cubicBezTo>
                  <a:pt x="1721918" y="4360605"/>
                  <a:pt x="1721916" y="4347947"/>
                  <a:pt x="1721916" y="4347947"/>
                </a:cubicBezTo>
                <a:lnTo>
                  <a:pt x="1734570" y="4335296"/>
                </a:lnTo>
                <a:cubicBezTo>
                  <a:pt x="1734570" y="4322646"/>
                  <a:pt x="1734570" y="4322646"/>
                  <a:pt x="1721916" y="4322646"/>
                </a:cubicBezTo>
                <a:lnTo>
                  <a:pt x="1721918" y="4297335"/>
                </a:lnTo>
                <a:cubicBezTo>
                  <a:pt x="1721918" y="4284683"/>
                  <a:pt x="1734572" y="4272029"/>
                  <a:pt x="1734570" y="4259375"/>
                </a:cubicBezTo>
                <a:lnTo>
                  <a:pt x="1747226" y="4246719"/>
                </a:lnTo>
                <a:lnTo>
                  <a:pt x="1747224" y="4221419"/>
                </a:lnTo>
                <a:cubicBezTo>
                  <a:pt x="1747226" y="4208762"/>
                  <a:pt x="1747224" y="4196109"/>
                  <a:pt x="1759880" y="4183454"/>
                </a:cubicBezTo>
                <a:cubicBezTo>
                  <a:pt x="1759882" y="4170800"/>
                  <a:pt x="1759880" y="4158146"/>
                  <a:pt x="1759880" y="4158146"/>
                </a:cubicBezTo>
                <a:cubicBezTo>
                  <a:pt x="1759878" y="4145495"/>
                  <a:pt x="1759882" y="4132838"/>
                  <a:pt x="1759882" y="4132838"/>
                </a:cubicBezTo>
                <a:lnTo>
                  <a:pt x="1747226" y="4145492"/>
                </a:lnTo>
                <a:lnTo>
                  <a:pt x="1747224" y="4094879"/>
                </a:lnTo>
                <a:cubicBezTo>
                  <a:pt x="1747224" y="4082222"/>
                  <a:pt x="1759878" y="4069572"/>
                  <a:pt x="1759878" y="4056920"/>
                </a:cubicBezTo>
                <a:lnTo>
                  <a:pt x="1759880" y="4044264"/>
                </a:lnTo>
                <a:lnTo>
                  <a:pt x="1759878" y="4018959"/>
                </a:lnTo>
                <a:lnTo>
                  <a:pt x="1772531" y="4018959"/>
                </a:lnTo>
                <a:lnTo>
                  <a:pt x="1759878" y="4082226"/>
                </a:lnTo>
                <a:lnTo>
                  <a:pt x="1759878" y="4094879"/>
                </a:lnTo>
                <a:lnTo>
                  <a:pt x="1772532" y="4082226"/>
                </a:lnTo>
                <a:lnTo>
                  <a:pt x="1772531" y="4018959"/>
                </a:lnTo>
                <a:lnTo>
                  <a:pt x="1785185" y="4018956"/>
                </a:lnTo>
                <a:cubicBezTo>
                  <a:pt x="1797839" y="4006302"/>
                  <a:pt x="1797839" y="4006302"/>
                  <a:pt x="1797839" y="3993647"/>
                </a:cubicBezTo>
                <a:lnTo>
                  <a:pt x="1797839" y="3980997"/>
                </a:lnTo>
                <a:cubicBezTo>
                  <a:pt x="1797839" y="3968345"/>
                  <a:pt x="1785185" y="3955692"/>
                  <a:pt x="1785185" y="3943038"/>
                </a:cubicBezTo>
                <a:cubicBezTo>
                  <a:pt x="1785188" y="3938820"/>
                  <a:pt x="1785186" y="3934605"/>
                  <a:pt x="1785188" y="3930384"/>
                </a:cubicBezTo>
                <a:cubicBezTo>
                  <a:pt x="1797839" y="3930381"/>
                  <a:pt x="1810492" y="3930381"/>
                  <a:pt x="1797839" y="3892421"/>
                </a:cubicBezTo>
                <a:cubicBezTo>
                  <a:pt x="1810492" y="3854460"/>
                  <a:pt x="1823147" y="3829157"/>
                  <a:pt x="1823146" y="3803846"/>
                </a:cubicBezTo>
                <a:cubicBezTo>
                  <a:pt x="1835801" y="3765888"/>
                  <a:pt x="1835800" y="3740582"/>
                  <a:pt x="1848454" y="3702623"/>
                </a:cubicBezTo>
                <a:lnTo>
                  <a:pt x="1848454" y="3689967"/>
                </a:lnTo>
                <a:cubicBezTo>
                  <a:pt x="1861108" y="3677310"/>
                  <a:pt x="1873760" y="3639353"/>
                  <a:pt x="1873760" y="3614048"/>
                </a:cubicBezTo>
                <a:cubicBezTo>
                  <a:pt x="1886414" y="3576086"/>
                  <a:pt x="1886414" y="3525473"/>
                  <a:pt x="1899068" y="3487509"/>
                </a:cubicBezTo>
                <a:cubicBezTo>
                  <a:pt x="1911722" y="3462206"/>
                  <a:pt x="1911720" y="3424242"/>
                  <a:pt x="1924374" y="3398939"/>
                </a:cubicBezTo>
                <a:cubicBezTo>
                  <a:pt x="1937026" y="3373631"/>
                  <a:pt x="1937028" y="3348326"/>
                  <a:pt x="1937030" y="3323013"/>
                </a:cubicBezTo>
                <a:cubicBezTo>
                  <a:pt x="1962336" y="3310359"/>
                  <a:pt x="1974986" y="3297705"/>
                  <a:pt x="1962335" y="3259749"/>
                </a:cubicBezTo>
                <a:lnTo>
                  <a:pt x="1991070" y="3218426"/>
                </a:lnTo>
                <a:lnTo>
                  <a:pt x="2009375" y="3131484"/>
                </a:lnTo>
                <a:lnTo>
                  <a:pt x="2101524" y="2813634"/>
                </a:lnTo>
                <a:cubicBezTo>
                  <a:pt x="2101524" y="2810495"/>
                  <a:pt x="2101523" y="2807357"/>
                  <a:pt x="2101523" y="2804220"/>
                </a:cubicBezTo>
                <a:lnTo>
                  <a:pt x="2101522" y="2791569"/>
                </a:lnTo>
                <a:cubicBezTo>
                  <a:pt x="2101526" y="2778915"/>
                  <a:pt x="2101522" y="2791569"/>
                  <a:pt x="2088870" y="2791569"/>
                </a:cubicBezTo>
                <a:cubicBezTo>
                  <a:pt x="2088870" y="2791569"/>
                  <a:pt x="2088868" y="2778912"/>
                  <a:pt x="2088870" y="2766260"/>
                </a:cubicBezTo>
                <a:cubicBezTo>
                  <a:pt x="2095198" y="2766261"/>
                  <a:pt x="2098360" y="2766260"/>
                  <a:pt x="2103107" y="2764679"/>
                </a:cubicBezTo>
                <a:lnTo>
                  <a:pt x="2117687" y="2757873"/>
                </a:lnTo>
                <a:lnTo>
                  <a:pt x="2150044" y="2646270"/>
                </a:lnTo>
                <a:lnTo>
                  <a:pt x="2170826" y="2589693"/>
                </a:lnTo>
                <a:lnTo>
                  <a:pt x="2152136" y="2627073"/>
                </a:lnTo>
                <a:cubicBezTo>
                  <a:pt x="2152139" y="2639726"/>
                  <a:pt x="2139486" y="2665034"/>
                  <a:pt x="2139486" y="2677683"/>
                </a:cubicBezTo>
                <a:lnTo>
                  <a:pt x="2126832" y="2677683"/>
                </a:lnTo>
                <a:cubicBezTo>
                  <a:pt x="2152136" y="2627073"/>
                  <a:pt x="2164793" y="2576459"/>
                  <a:pt x="2190101" y="2525843"/>
                </a:cubicBezTo>
                <a:lnTo>
                  <a:pt x="2193160" y="2528904"/>
                </a:lnTo>
                <a:lnTo>
                  <a:pt x="2326253" y="2166623"/>
                </a:lnTo>
                <a:cubicBezTo>
                  <a:pt x="2390723" y="2007636"/>
                  <a:pt x="2460824" y="1849539"/>
                  <a:pt x="2536276" y="1692287"/>
                </a:cubicBezTo>
                <a:cubicBezTo>
                  <a:pt x="2609657" y="1542369"/>
                  <a:pt x="2693399" y="1392075"/>
                  <a:pt x="2779430" y="1247916"/>
                </a:cubicBezTo>
                <a:cubicBezTo>
                  <a:pt x="2792879" y="1218395"/>
                  <a:pt x="2808626" y="1195008"/>
                  <a:pt x="2770664" y="1177716"/>
                </a:cubicBezTo>
                <a:cubicBezTo>
                  <a:pt x="2761174" y="1173392"/>
                  <a:pt x="2754269" y="1172477"/>
                  <a:pt x="2749036" y="1173831"/>
                </a:cubicBezTo>
                <a:cubicBezTo>
                  <a:pt x="2733335" y="1177899"/>
                  <a:pt x="2732668" y="1202424"/>
                  <a:pt x="2722301" y="1216800"/>
                </a:cubicBezTo>
                <a:cubicBezTo>
                  <a:pt x="2705008" y="1254761"/>
                  <a:pt x="2685796" y="1296938"/>
                  <a:pt x="2664288" y="1332978"/>
                </a:cubicBezTo>
                <a:cubicBezTo>
                  <a:pt x="2499482" y="1650062"/>
                  <a:pt x="2317805" y="1959462"/>
                  <a:pt x="2203618" y="2299605"/>
                </a:cubicBezTo>
                <a:cubicBezTo>
                  <a:pt x="1980254" y="2946521"/>
                  <a:pt x="1775682" y="3596906"/>
                  <a:pt x="1707262" y="4283838"/>
                </a:cubicBezTo>
                <a:cubicBezTo>
                  <a:pt x="1707638" y="4294197"/>
                  <a:pt x="1704170" y="4312989"/>
                  <a:pt x="1681160" y="4307601"/>
                </a:cubicBezTo>
                <a:cubicBezTo>
                  <a:pt x="1657772" y="4291851"/>
                  <a:pt x="1667380" y="4270763"/>
                  <a:pt x="1666626" y="4250051"/>
                </a:cubicBezTo>
                <a:cubicBezTo>
                  <a:pt x="1662954" y="4034477"/>
                  <a:pt x="1719882" y="3831227"/>
                  <a:pt x="1755719" y="3618369"/>
                </a:cubicBezTo>
                <a:cubicBezTo>
                  <a:pt x="1848402" y="3057074"/>
                  <a:pt x="2000620" y="2521628"/>
                  <a:pt x="2213906" y="2011451"/>
                </a:cubicBezTo>
                <a:lnTo>
                  <a:pt x="2291730" y="1839899"/>
                </a:lnTo>
                <a:lnTo>
                  <a:pt x="2270768" y="1875771"/>
                </a:lnTo>
                <a:cubicBezTo>
                  <a:pt x="2250203" y="1912149"/>
                  <a:pt x="2234388" y="1943786"/>
                  <a:pt x="2228062" y="1969091"/>
                </a:cubicBezTo>
                <a:cubicBezTo>
                  <a:pt x="2190100" y="2032358"/>
                  <a:pt x="2139485" y="2120933"/>
                  <a:pt x="2088868" y="2209505"/>
                </a:cubicBezTo>
                <a:cubicBezTo>
                  <a:pt x="2050910" y="2298083"/>
                  <a:pt x="2012950" y="2386658"/>
                  <a:pt x="1987640" y="2449925"/>
                </a:cubicBezTo>
                <a:lnTo>
                  <a:pt x="1974989" y="2462577"/>
                </a:lnTo>
                <a:lnTo>
                  <a:pt x="1974990" y="2475228"/>
                </a:lnTo>
                <a:lnTo>
                  <a:pt x="1987643" y="2475230"/>
                </a:lnTo>
                <a:cubicBezTo>
                  <a:pt x="1962336" y="2513190"/>
                  <a:pt x="1949678" y="2589114"/>
                  <a:pt x="1974989" y="2538498"/>
                </a:cubicBezTo>
                <a:lnTo>
                  <a:pt x="1974989" y="2551151"/>
                </a:lnTo>
                <a:cubicBezTo>
                  <a:pt x="1974989" y="2551151"/>
                  <a:pt x="1974990" y="2563805"/>
                  <a:pt x="1987643" y="2551154"/>
                </a:cubicBezTo>
                <a:lnTo>
                  <a:pt x="2000297" y="2551154"/>
                </a:lnTo>
                <a:cubicBezTo>
                  <a:pt x="1987644" y="2563805"/>
                  <a:pt x="1987643" y="2576460"/>
                  <a:pt x="2000296" y="2563802"/>
                </a:cubicBezTo>
                <a:cubicBezTo>
                  <a:pt x="1962335" y="2601765"/>
                  <a:pt x="1987643" y="2614421"/>
                  <a:pt x="1962335" y="2652381"/>
                </a:cubicBezTo>
                <a:cubicBezTo>
                  <a:pt x="1962335" y="2601765"/>
                  <a:pt x="1949682" y="2627075"/>
                  <a:pt x="1924374" y="2690342"/>
                </a:cubicBezTo>
                <a:lnTo>
                  <a:pt x="1949678" y="2690340"/>
                </a:lnTo>
                <a:cubicBezTo>
                  <a:pt x="1899068" y="2791571"/>
                  <a:pt x="1911722" y="2804220"/>
                  <a:pt x="1873757" y="2867490"/>
                </a:cubicBezTo>
                <a:lnTo>
                  <a:pt x="1886414" y="2880144"/>
                </a:lnTo>
                <a:cubicBezTo>
                  <a:pt x="1886412" y="2892795"/>
                  <a:pt x="1873760" y="2905448"/>
                  <a:pt x="1861106" y="2905451"/>
                </a:cubicBezTo>
                <a:cubicBezTo>
                  <a:pt x="1861106" y="2930756"/>
                  <a:pt x="1873758" y="2918102"/>
                  <a:pt x="1861108" y="2943410"/>
                </a:cubicBezTo>
                <a:cubicBezTo>
                  <a:pt x="1835796" y="3006680"/>
                  <a:pt x="1810493" y="3082601"/>
                  <a:pt x="1772531" y="3196478"/>
                </a:cubicBezTo>
                <a:cubicBezTo>
                  <a:pt x="1759882" y="3234438"/>
                  <a:pt x="1747226" y="3259749"/>
                  <a:pt x="1747226" y="3272402"/>
                </a:cubicBezTo>
                <a:cubicBezTo>
                  <a:pt x="1709267" y="3398937"/>
                  <a:pt x="1683956" y="3576087"/>
                  <a:pt x="1645997" y="3576087"/>
                </a:cubicBezTo>
                <a:cubicBezTo>
                  <a:pt x="1658652" y="3614048"/>
                  <a:pt x="1645997" y="3614048"/>
                  <a:pt x="1633342" y="3689967"/>
                </a:cubicBezTo>
                <a:cubicBezTo>
                  <a:pt x="1620689" y="3740580"/>
                  <a:pt x="1620690" y="3639353"/>
                  <a:pt x="1608035" y="3715275"/>
                </a:cubicBezTo>
                <a:cubicBezTo>
                  <a:pt x="1595381" y="3689967"/>
                  <a:pt x="1582726" y="3740580"/>
                  <a:pt x="1595384" y="3677315"/>
                </a:cubicBezTo>
                <a:cubicBezTo>
                  <a:pt x="1582727" y="3677310"/>
                  <a:pt x="1582726" y="3727928"/>
                  <a:pt x="1570074" y="3727928"/>
                </a:cubicBezTo>
                <a:lnTo>
                  <a:pt x="1570076" y="3740582"/>
                </a:lnTo>
                <a:cubicBezTo>
                  <a:pt x="1570076" y="3740582"/>
                  <a:pt x="1557422" y="3727925"/>
                  <a:pt x="1557420" y="3740582"/>
                </a:cubicBezTo>
                <a:lnTo>
                  <a:pt x="1557422" y="3753236"/>
                </a:lnTo>
                <a:lnTo>
                  <a:pt x="1544766" y="3765888"/>
                </a:lnTo>
                <a:cubicBezTo>
                  <a:pt x="1544768" y="3778539"/>
                  <a:pt x="1544766" y="3791196"/>
                  <a:pt x="1532116" y="3816503"/>
                </a:cubicBezTo>
                <a:cubicBezTo>
                  <a:pt x="1506806" y="3892424"/>
                  <a:pt x="1506806" y="3930384"/>
                  <a:pt x="1494154" y="3955688"/>
                </a:cubicBezTo>
                <a:cubicBezTo>
                  <a:pt x="1494152" y="3943040"/>
                  <a:pt x="1494154" y="3955688"/>
                  <a:pt x="1481500" y="3968345"/>
                </a:cubicBezTo>
                <a:lnTo>
                  <a:pt x="1481500" y="3993647"/>
                </a:lnTo>
                <a:lnTo>
                  <a:pt x="1481501" y="4006304"/>
                </a:lnTo>
                <a:cubicBezTo>
                  <a:pt x="1434052" y="4006302"/>
                  <a:pt x="1407952" y="4113069"/>
                  <a:pt x="1381853" y="4214495"/>
                </a:cubicBezTo>
                <a:lnTo>
                  <a:pt x="1368499" y="4261914"/>
                </a:lnTo>
                <a:lnTo>
                  <a:pt x="1368140" y="4265309"/>
                </a:lnTo>
                <a:cubicBezTo>
                  <a:pt x="1376641" y="4249685"/>
                  <a:pt x="1379215" y="4267281"/>
                  <a:pt x="1388314" y="4280324"/>
                </a:cubicBezTo>
                <a:cubicBezTo>
                  <a:pt x="1389514" y="4337666"/>
                  <a:pt x="1377062" y="4375437"/>
                  <a:pt x="1371136" y="4408659"/>
                </a:cubicBezTo>
                <a:cubicBezTo>
                  <a:pt x="1365209" y="4441880"/>
                  <a:pt x="1357309" y="4486176"/>
                  <a:pt x="1369580" y="4545485"/>
                </a:cubicBezTo>
                <a:cubicBezTo>
                  <a:pt x="1363655" y="4578707"/>
                  <a:pt x="1348031" y="4570214"/>
                  <a:pt x="1344680" y="4621031"/>
                </a:cubicBezTo>
                <a:cubicBezTo>
                  <a:pt x="1349830" y="4656224"/>
                  <a:pt x="1364854" y="4636049"/>
                  <a:pt x="1361503" y="4686864"/>
                </a:cubicBezTo>
                <a:cubicBezTo>
                  <a:pt x="1342526" y="4729188"/>
                  <a:pt x="1357375" y="4806095"/>
                  <a:pt x="1354621" y="4885583"/>
                </a:cubicBezTo>
                <a:cubicBezTo>
                  <a:pt x="1341572" y="4894685"/>
                  <a:pt x="1338818" y="4974173"/>
                  <a:pt x="1348517" y="5015886"/>
                </a:cubicBezTo>
                <a:cubicBezTo>
                  <a:pt x="1350493" y="5004813"/>
                  <a:pt x="1350493" y="5004813"/>
                  <a:pt x="1350493" y="5004813"/>
                </a:cubicBezTo>
                <a:cubicBezTo>
                  <a:pt x="1352468" y="4993740"/>
                  <a:pt x="1347919" y="4987218"/>
                  <a:pt x="1358993" y="4989188"/>
                </a:cubicBezTo>
                <a:cubicBezTo>
                  <a:pt x="1358993" y="4989188"/>
                  <a:pt x="1357018" y="5000262"/>
                  <a:pt x="1361566" y="5006784"/>
                </a:cubicBezTo>
                <a:cubicBezTo>
                  <a:pt x="1372642" y="5008755"/>
                  <a:pt x="1372642" y="5008755"/>
                  <a:pt x="1372642" y="5008755"/>
                </a:cubicBezTo>
                <a:cubicBezTo>
                  <a:pt x="1377790" y="5043947"/>
                  <a:pt x="1358216" y="5057601"/>
                  <a:pt x="1362166" y="5035454"/>
                </a:cubicBezTo>
                <a:cubicBezTo>
                  <a:pt x="1360192" y="5046527"/>
                  <a:pt x="1360192" y="5046527"/>
                  <a:pt x="1360192" y="5046527"/>
                </a:cubicBezTo>
                <a:cubicBezTo>
                  <a:pt x="1358216" y="5057601"/>
                  <a:pt x="1351691" y="5062152"/>
                  <a:pt x="1351691" y="5062152"/>
                </a:cubicBezTo>
                <a:cubicBezTo>
                  <a:pt x="1347142" y="5055632"/>
                  <a:pt x="1349117" y="5044557"/>
                  <a:pt x="1344566" y="5038034"/>
                </a:cubicBezTo>
                <a:cubicBezTo>
                  <a:pt x="1330918" y="5018466"/>
                  <a:pt x="1319245" y="4987827"/>
                  <a:pt x="1315892" y="5038644"/>
                </a:cubicBezTo>
                <a:cubicBezTo>
                  <a:pt x="1309546" y="4946112"/>
                  <a:pt x="1310323" y="4877700"/>
                  <a:pt x="1322174" y="4811256"/>
                </a:cubicBezTo>
                <a:cubicBezTo>
                  <a:pt x="1322951" y="4742843"/>
                  <a:pt x="1332829" y="4687475"/>
                  <a:pt x="1335581" y="4607987"/>
                </a:cubicBezTo>
                <a:cubicBezTo>
                  <a:pt x="1324507" y="4606016"/>
                  <a:pt x="1327079" y="4623612"/>
                  <a:pt x="1316006" y="4621641"/>
                </a:cubicBezTo>
                <a:cubicBezTo>
                  <a:pt x="1308283" y="4568853"/>
                  <a:pt x="1307684" y="4540185"/>
                  <a:pt x="1309060" y="4500440"/>
                </a:cubicBezTo>
                <a:cubicBezTo>
                  <a:pt x="1314986" y="4467219"/>
                  <a:pt x="1316363" y="4427475"/>
                  <a:pt x="1321690" y="4365584"/>
                </a:cubicBezTo>
                <a:cubicBezTo>
                  <a:pt x="1328215" y="4361031"/>
                  <a:pt x="1330682" y="4347189"/>
                  <a:pt x="1333078" y="4329764"/>
                </a:cubicBezTo>
                <a:lnTo>
                  <a:pt x="1339778" y="4294655"/>
                </a:lnTo>
                <a:lnTo>
                  <a:pt x="1334128" y="4283789"/>
                </a:lnTo>
                <a:lnTo>
                  <a:pt x="1333241" y="4284804"/>
                </a:lnTo>
                <a:cubicBezTo>
                  <a:pt x="1331857" y="4284558"/>
                  <a:pt x="1330718" y="4282928"/>
                  <a:pt x="1329890" y="4279569"/>
                </a:cubicBezTo>
                <a:lnTo>
                  <a:pt x="1329440" y="4274876"/>
                </a:lnTo>
                <a:lnTo>
                  <a:pt x="1319377" y="4260165"/>
                </a:lnTo>
                <a:cubicBezTo>
                  <a:pt x="1315421" y="4257003"/>
                  <a:pt x="1310677" y="4256211"/>
                  <a:pt x="1304350" y="4259375"/>
                </a:cubicBezTo>
                <a:cubicBezTo>
                  <a:pt x="1304350" y="4347948"/>
                  <a:pt x="1291696" y="4347950"/>
                  <a:pt x="1291700" y="4411218"/>
                </a:cubicBezTo>
                <a:cubicBezTo>
                  <a:pt x="1253735" y="4461831"/>
                  <a:pt x="1228429" y="4398561"/>
                  <a:pt x="1228430" y="4309989"/>
                </a:cubicBezTo>
                <a:lnTo>
                  <a:pt x="1228429" y="4297332"/>
                </a:lnTo>
                <a:lnTo>
                  <a:pt x="1228429" y="4259375"/>
                </a:lnTo>
                <a:lnTo>
                  <a:pt x="1241081" y="4272029"/>
                </a:lnTo>
                <a:lnTo>
                  <a:pt x="1241083" y="4284678"/>
                </a:lnTo>
                <a:lnTo>
                  <a:pt x="1253735" y="4272029"/>
                </a:lnTo>
                <a:cubicBezTo>
                  <a:pt x="1266386" y="4259375"/>
                  <a:pt x="1266386" y="4158146"/>
                  <a:pt x="1241083" y="4234070"/>
                </a:cubicBezTo>
                <a:lnTo>
                  <a:pt x="1241081" y="4221419"/>
                </a:lnTo>
                <a:lnTo>
                  <a:pt x="1241081" y="4208763"/>
                </a:lnTo>
                <a:cubicBezTo>
                  <a:pt x="1241083" y="4202436"/>
                  <a:pt x="1241084" y="4199273"/>
                  <a:pt x="1239502" y="4197690"/>
                </a:cubicBezTo>
                <a:lnTo>
                  <a:pt x="1232377" y="4196673"/>
                </a:lnTo>
                <a:lnTo>
                  <a:pt x="1229462" y="4233180"/>
                </a:lnTo>
                <a:lnTo>
                  <a:pt x="1228429" y="4233416"/>
                </a:lnTo>
                <a:lnTo>
                  <a:pt x="1228429" y="4234070"/>
                </a:lnTo>
                <a:lnTo>
                  <a:pt x="1228429" y="4246722"/>
                </a:lnTo>
                <a:cubicBezTo>
                  <a:pt x="1228429" y="4246722"/>
                  <a:pt x="1228429" y="4259375"/>
                  <a:pt x="1215775" y="4259375"/>
                </a:cubicBezTo>
                <a:lnTo>
                  <a:pt x="1214402" y="4223664"/>
                </a:lnTo>
                <a:lnTo>
                  <a:pt x="1207888" y="4209806"/>
                </a:lnTo>
                <a:cubicBezTo>
                  <a:pt x="1197065" y="4338836"/>
                  <a:pt x="1176364" y="4433700"/>
                  <a:pt x="1187569" y="4574865"/>
                </a:cubicBezTo>
                <a:cubicBezTo>
                  <a:pt x="1193866" y="4558230"/>
                  <a:pt x="1198807" y="4575314"/>
                  <a:pt x="1209595" y="4587000"/>
                </a:cubicBezTo>
                <a:cubicBezTo>
                  <a:pt x="1218574" y="4643646"/>
                  <a:pt x="1211371" y="4682760"/>
                  <a:pt x="1210015" y="4716479"/>
                </a:cubicBezTo>
                <a:cubicBezTo>
                  <a:pt x="1208657" y="4750196"/>
                  <a:pt x="1206847" y="4795155"/>
                  <a:pt x="1227065" y="4852247"/>
                </a:cubicBezTo>
                <a:cubicBezTo>
                  <a:pt x="1225708" y="4885965"/>
                  <a:pt x="1209076" y="4879676"/>
                  <a:pt x="1212661" y="4930475"/>
                </a:cubicBezTo>
                <a:cubicBezTo>
                  <a:pt x="1222543" y="4964642"/>
                  <a:pt x="1234687" y="4942611"/>
                  <a:pt x="1238272" y="4993412"/>
                </a:cubicBezTo>
                <a:cubicBezTo>
                  <a:pt x="1225222" y="5037923"/>
                  <a:pt x="1250381" y="5112099"/>
                  <a:pt x="1258454" y="5191223"/>
                </a:cubicBezTo>
                <a:cubicBezTo>
                  <a:pt x="1255532" y="5193920"/>
                  <a:pt x="1253845" y="5200890"/>
                  <a:pt x="1253197" y="5210450"/>
                </a:cubicBezTo>
                <a:lnTo>
                  <a:pt x="1254044" y="5240709"/>
                </a:lnTo>
                <a:lnTo>
                  <a:pt x="1254724" y="5240415"/>
                </a:lnTo>
                <a:cubicBezTo>
                  <a:pt x="1285172" y="5244567"/>
                  <a:pt x="1305932" y="5364974"/>
                  <a:pt x="1317005" y="5398188"/>
                </a:cubicBezTo>
                <a:cubicBezTo>
                  <a:pt x="1317004" y="5385537"/>
                  <a:pt x="1317005" y="5360228"/>
                  <a:pt x="1329656" y="5372882"/>
                </a:cubicBezTo>
                <a:cubicBezTo>
                  <a:pt x="1342310" y="5436149"/>
                  <a:pt x="1354961" y="5537378"/>
                  <a:pt x="1380271" y="5613296"/>
                </a:cubicBezTo>
                <a:lnTo>
                  <a:pt x="1380271" y="5651258"/>
                </a:lnTo>
                <a:lnTo>
                  <a:pt x="1392926" y="5638607"/>
                </a:lnTo>
                <a:cubicBezTo>
                  <a:pt x="1392926" y="5651259"/>
                  <a:pt x="1405579" y="5651259"/>
                  <a:pt x="1405579" y="5651259"/>
                </a:cubicBezTo>
                <a:lnTo>
                  <a:pt x="1418234" y="5663912"/>
                </a:lnTo>
                <a:cubicBezTo>
                  <a:pt x="1437212" y="5730344"/>
                  <a:pt x="1463309" y="5818127"/>
                  <a:pt x="1496526" y="5884557"/>
                </a:cubicBezTo>
                <a:lnTo>
                  <a:pt x="1509760" y="5906024"/>
                </a:lnTo>
                <a:lnTo>
                  <a:pt x="1508820" y="5901420"/>
                </a:lnTo>
                <a:cubicBezTo>
                  <a:pt x="1503708" y="5880129"/>
                  <a:pt x="1497413" y="5855456"/>
                  <a:pt x="1490338" y="5825213"/>
                </a:cubicBezTo>
                <a:cubicBezTo>
                  <a:pt x="1499915" y="5812508"/>
                  <a:pt x="1482533" y="5769515"/>
                  <a:pt x="1482641" y="5729742"/>
                </a:cubicBezTo>
                <a:cubicBezTo>
                  <a:pt x="1479412" y="5747235"/>
                  <a:pt x="1474624" y="5753588"/>
                  <a:pt x="1465153" y="5726520"/>
                </a:cubicBezTo>
                <a:cubicBezTo>
                  <a:pt x="1460578" y="5653329"/>
                  <a:pt x="1421134" y="5533922"/>
                  <a:pt x="1441958" y="5479880"/>
                </a:cubicBezTo>
                <a:cubicBezTo>
                  <a:pt x="1410316" y="5416172"/>
                  <a:pt x="1404182" y="5331840"/>
                  <a:pt x="1409186" y="5245944"/>
                </a:cubicBezTo>
                <a:cubicBezTo>
                  <a:pt x="1402835" y="5241156"/>
                  <a:pt x="1402835" y="5241156"/>
                  <a:pt x="1402835" y="5241156"/>
                </a:cubicBezTo>
                <a:cubicBezTo>
                  <a:pt x="1402835" y="5241156"/>
                  <a:pt x="1407625" y="5234805"/>
                  <a:pt x="1407625" y="5234805"/>
                </a:cubicBezTo>
                <a:cubicBezTo>
                  <a:pt x="1401275" y="5230016"/>
                  <a:pt x="1404505" y="5212524"/>
                  <a:pt x="1404505" y="5212524"/>
                </a:cubicBezTo>
                <a:cubicBezTo>
                  <a:pt x="1402943" y="5201384"/>
                  <a:pt x="1409293" y="5206173"/>
                  <a:pt x="1410854" y="5217312"/>
                </a:cubicBezTo>
                <a:lnTo>
                  <a:pt x="1412483" y="5218949"/>
                </a:lnTo>
                <a:lnTo>
                  <a:pt x="1412413" y="5228451"/>
                </a:lnTo>
                <a:cubicBezTo>
                  <a:pt x="1414809" y="5225276"/>
                  <a:pt x="1416006" y="5223688"/>
                  <a:pt x="1415812" y="5222296"/>
                </a:cubicBezTo>
                <a:lnTo>
                  <a:pt x="1412483" y="5218949"/>
                </a:lnTo>
                <a:lnTo>
                  <a:pt x="1412731" y="5185101"/>
                </a:lnTo>
                <a:cubicBezTo>
                  <a:pt x="1411379" y="5170382"/>
                  <a:pt x="1411015" y="5157654"/>
                  <a:pt x="1418980" y="5153696"/>
                </a:cubicBezTo>
                <a:cubicBezTo>
                  <a:pt x="1437814" y="5247602"/>
                  <a:pt x="1485492" y="5263620"/>
                  <a:pt x="1483608" y="5371797"/>
                </a:cubicBezTo>
                <a:cubicBezTo>
                  <a:pt x="1474030" y="5384501"/>
                  <a:pt x="1464559" y="5357433"/>
                  <a:pt x="1458209" y="5352647"/>
                </a:cubicBezTo>
                <a:cubicBezTo>
                  <a:pt x="1470587" y="5481536"/>
                  <a:pt x="1467142" y="5578572"/>
                  <a:pt x="1503359" y="5715473"/>
                </a:cubicBezTo>
                <a:cubicBezTo>
                  <a:pt x="1506588" y="5697980"/>
                  <a:pt x="1514498" y="5713907"/>
                  <a:pt x="1527197" y="5723481"/>
                </a:cubicBezTo>
                <a:cubicBezTo>
                  <a:pt x="1546139" y="5777618"/>
                  <a:pt x="1546032" y="5817389"/>
                  <a:pt x="1550714" y="5850807"/>
                </a:cubicBezTo>
                <a:cubicBezTo>
                  <a:pt x="1555396" y="5884227"/>
                  <a:pt x="1561638" y="5928786"/>
                  <a:pt x="1591721" y="5981355"/>
                </a:cubicBezTo>
                <a:cubicBezTo>
                  <a:pt x="1596402" y="6014775"/>
                  <a:pt x="1578912" y="6011552"/>
                  <a:pt x="1591505" y="6060899"/>
                </a:cubicBezTo>
                <a:cubicBezTo>
                  <a:pt x="1603372" y="6084789"/>
                  <a:pt x="1610848" y="6077349"/>
                  <a:pt x="1619156" y="6092955"/>
                </a:cubicBezTo>
                <a:lnTo>
                  <a:pt x="1620138" y="6095787"/>
                </a:lnTo>
                <a:lnTo>
                  <a:pt x="1620689" y="6081479"/>
                </a:lnTo>
                <a:cubicBezTo>
                  <a:pt x="1620690" y="6077261"/>
                  <a:pt x="1620690" y="6073043"/>
                  <a:pt x="1620694" y="6068825"/>
                </a:cubicBezTo>
                <a:cubicBezTo>
                  <a:pt x="1620689" y="6056168"/>
                  <a:pt x="1608040" y="6056171"/>
                  <a:pt x="1608040" y="6056171"/>
                </a:cubicBezTo>
                <a:cubicBezTo>
                  <a:pt x="1608035" y="5989739"/>
                  <a:pt x="1615154" y="5944664"/>
                  <a:pt x="1613374" y="5872893"/>
                </a:cubicBezTo>
                <a:lnTo>
                  <a:pt x="1608806" y="5802330"/>
                </a:lnTo>
                <a:lnTo>
                  <a:pt x="1620689" y="5790449"/>
                </a:lnTo>
                <a:cubicBezTo>
                  <a:pt x="1633343" y="5790449"/>
                  <a:pt x="1633344" y="5752488"/>
                  <a:pt x="1645996" y="5790447"/>
                </a:cubicBezTo>
                <a:cubicBezTo>
                  <a:pt x="1633343" y="5790449"/>
                  <a:pt x="1645996" y="5815754"/>
                  <a:pt x="1633342" y="5841060"/>
                </a:cubicBezTo>
                <a:lnTo>
                  <a:pt x="1633343" y="5828409"/>
                </a:lnTo>
                <a:cubicBezTo>
                  <a:pt x="1620689" y="5815751"/>
                  <a:pt x="1620689" y="5815751"/>
                  <a:pt x="1620689" y="5828409"/>
                </a:cubicBezTo>
                <a:lnTo>
                  <a:pt x="1620689" y="5841063"/>
                </a:lnTo>
                <a:cubicBezTo>
                  <a:pt x="1633342" y="5841060"/>
                  <a:pt x="1633344" y="5853714"/>
                  <a:pt x="1633344" y="5853714"/>
                </a:cubicBezTo>
                <a:cubicBezTo>
                  <a:pt x="1633342" y="5891675"/>
                  <a:pt x="1658651" y="5866368"/>
                  <a:pt x="1658651" y="5904329"/>
                </a:cubicBezTo>
                <a:cubicBezTo>
                  <a:pt x="1658650" y="5929632"/>
                  <a:pt x="1633342" y="5980245"/>
                  <a:pt x="1658650" y="5992904"/>
                </a:cubicBezTo>
                <a:lnTo>
                  <a:pt x="1658650" y="6005558"/>
                </a:lnTo>
                <a:lnTo>
                  <a:pt x="1658650" y="6030861"/>
                </a:lnTo>
                <a:lnTo>
                  <a:pt x="1658651" y="6043518"/>
                </a:lnTo>
                <a:cubicBezTo>
                  <a:pt x="1633342" y="6043518"/>
                  <a:pt x="1671304" y="6094128"/>
                  <a:pt x="1658652" y="6119439"/>
                </a:cubicBezTo>
                <a:cubicBezTo>
                  <a:pt x="1658652" y="6123657"/>
                  <a:pt x="1658652" y="6127875"/>
                  <a:pt x="1658650" y="6132093"/>
                </a:cubicBezTo>
                <a:cubicBezTo>
                  <a:pt x="1658650" y="6144743"/>
                  <a:pt x="1671304" y="6144746"/>
                  <a:pt x="1671304" y="6144746"/>
                </a:cubicBezTo>
                <a:lnTo>
                  <a:pt x="1671304" y="6157400"/>
                </a:lnTo>
                <a:lnTo>
                  <a:pt x="1671304" y="6182706"/>
                </a:lnTo>
                <a:lnTo>
                  <a:pt x="1671304" y="6195360"/>
                </a:lnTo>
                <a:cubicBezTo>
                  <a:pt x="1671304" y="6220665"/>
                  <a:pt x="1671304" y="6258626"/>
                  <a:pt x="1696612" y="6271281"/>
                </a:cubicBezTo>
                <a:lnTo>
                  <a:pt x="1683956" y="6271278"/>
                </a:lnTo>
                <a:lnTo>
                  <a:pt x="1683956" y="6283935"/>
                </a:lnTo>
                <a:cubicBezTo>
                  <a:pt x="1683956" y="6296589"/>
                  <a:pt x="1683958" y="6309242"/>
                  <a:pt x="1696610" y="6309240"/>
                </a:cubicBezTo>
                <a:cubicBezTo>
                  <a:pt x="1693446" y="6331385"/>
                  <a:pt x="1693448" y="6351945"/>
                  <a:pt x="1695425" y="6372311"/>
                </a:cubicBezTo>
                <a:lnTo>
                  <a:pt x="1699331" y="6394962"/>
                </a:lnTo>
                <a:lnTo>
                  <a:pt x="1701635" y="6401727"/>
                </a:lnTo>
                <a:cubicBezTo>
                  <a:pt x="1706672" y="6414242"/>
                  <a:pt x="1712208" y="6425888"/>
                  <a:pt x="1717750" y="6435048"/>
                </a:cubicBezTo>
                <a:cubicBezTo>
                  <a:pt x="1716190" y="6423909"/>
                  <a:pt x="1716190" y="6423909"/>
                  <a:pt x="1716190" y="6423909"/>
                </a:cubicBezTo>
                <a:cubicBezTo>
                  <a:pt x="1714628" y="6412769"/>
                  <a:pt x="1708278" y="6407981"/>
                  <a:pt x="1719419" y="6406416"/>
                </a:cubicBezTo>
                <a:cubicBezTo>
                  <a:pt x="1719419" y="6406416"/>
                  <a:pt x="1720979" y="6417557"/>
                  <a:pt x="1727328" y="6422343"/>
                </a:cubicBezTo>
                <a:cubicBezTo>
                  <a:pt x="1738468" y="6420779"/>
                  <a:pt x="1738468" y="6420779"/>
                  <a:pt x="1738468" y="6420779"/>
                </a:cubicBezTo>
                <a:cubicBezTo>
                  <a:pt x="1754290" y="6452633"/>
                  <a:pt x="1739921" y="6471690"/>
                  <a:pt x="1736798" y="6449411"/>
                </a:cubicBezTo>
                <a:cubicBezTo>
                  <a:pt x="1738361" y="6460550"/>
                  <a:pt x="1738361" y="6460550"/>
                  <a:pt x="1738361" y="6460550"/>
                </a:cubicBezTo>
                <a:cubicBezTo>
                  <a:pt x="1739921" y="6471690"/>
                  <a:pt x="1735132" y="6478043"/>
                  <a:pt x="1735132" y="6478043"/>
                </a:cubicBezTo>
                <a:cubicBezTo>
                  <a:pt x="1728782" y="6473255"/>
                  <a:pt x="1727220" y="6462116"/>
                  <a:pt x="1720871" y="6457328"/>
                </a:cubicBezTo>
                <a:lnTo>
                  <a:pt x="1709114" y="6447681"/>
                </a:lnTo>
                <a:lnTo>
                  <a:pt x="1721522" y="6503195"/>
                </a:lnTo>
                <a:cubicBezTo>
                  <a:pt x="1726662" y="6528305"/>
                  <a:pt x="1731407" y="6555983"/>
                  <a:pt x="1734572" y="6587615"/>
                </a:cubicBezTo>
                <a:lnTo>
                  <a:pt x="1721918" y="6600269"/>
                </a:lnTo>
                <a:cubicBezTo>
                  <a:pt x="1721916" y="6612926"/>
                  <a:pt x="1734570" y="6625580"/>
                  <a:pt x="1734570" y="6625580"/>
                </a:cubicBezTo>
                <a:lnTo>
                  <a:pt x="1747224" y="6638229"/>
                </a:lnTo>
                <a:lnTo>
                  <a:pt x="1734570" y="6638232"/>
                </a:lnTo>
                <a:cubicBezTo>
                  <a:pt x="1747224" y="6650886"/>
                  <a:pt x="1759878" y="6688847"/>
                  <a:pt x="1759880" y="6714153"/>
                </a:cubicBezTo>
                <a:cubicBezTo>
                  <a:pt x="1759882" y="6718371"/>
                  <a:pt x="1759882" y="6722589"/>
                  <a:pt x="1759882" y="6726807"/>
                </a:cubicBezTo>
                <a:cubicBezTo>
                  <a:pt x="1759882" y="6731024"/>
                  <a:pt x="1759882" y="6735242"/>
                  <a:pt x="1759880" y="6739458"/>
                </a:cubicBezTo>
                <a:lnTo>
                  <a:pt x="1772531" y="6752112"/>
                </a:lnTo>
                <a:cubicBezTo>
                  <a:pt x="1772531" y="6802725"/>
                  <a:pt x="1810492" y="6891303"/>
                  <a:pt x="1810493" y="6929262"/>
                </a:cubicBezTo>
                <a:lnTo>
                  <a:pt x="1797839" y="6929262"/>
                </a:lnTo>
                <a:lnTo>
                  <a:pt x="1797839" y="6941918"/>
                </a:lnTo>
                <a:cubicBezTo>
                  <a:pt x="1797840" y="6954569"/>
                  <a:pt x="1797842" y="6967223"/>
                  <a:pt x="1810493" y="6967223"/>
                </a:cubicBezTo>
                <a:lnTo>
                  <a:pt x="1823147" y="6979875"/>
                </a:lnTo>
                <a:lnTo>
                  <a:pt x="1835800" y="6967220"/>
                </a:lnTo>
                <a:lnTo>
                  <a:pt x="1835801" y="6954573"/>
                </a:lnTo>
                <a:lnTo>
                  <a:pt x="1823147" y="6941916"/>
                </a:lnTo>
                <a:cubicBezTo>
                  <a:pt x="1810493" y="6916605"/>
                  <a:pt x="1823146" y="6916608"/>
                  <a:pt x="1810493" y="6878645"/>
                </a:cubicBezTo>
                <a:cubicBezTo>
                  <a:pt x="1823146" y="6878648"/>
                  <a:pt x="1823146" y="6891303"/>
                  <a:pt x="1835800" y="6916608"/>
                </a:cubicBezTo>
                <a:cubicBezTo>
                  <a:pt x="1835800" y="6903957"/>
                  <a:pt x="1835801" y="6891300"/>
                  <a:pt x="1823146" y="6865997"/>
                </a:cubicBezTo>
                <a:lnTo>
                  <a:pt x="1810492" y="6865997"/>
                </a:lnTo>
                <a:cubicBezTo>
                  <a:pt x="1810492" y="6828036"/>
                  <a:pt x="1797839" y="6790076"/>
                  <a:pt x="1785185" y="6752111"/>
                </a:cubicBezTo>
                <a:cubicBezTo>
                  <a:pt x="1797839" y="6752112"/>
                  <a:pt x="1823146" y="6815382"/>
                  <a:pt x="1797840" y="6739461"/>
                </a:cubicBezTo>
                <a:lnTo>
                  <a:pt x="1810492" y="6739458"/>
                </a:lnTo>
                <a:lnTo>
                  <a:pt x="1810492" y="6752112"/>
                </a:lnTo>
                <a:lnTo>
                  <a:pt x="1823146" y="6739461"/>
                </a:lnTo>
                <a:cubicBezTo>
                  <a:pt x="1848454" y="6777419"/>
                  <a:pt x="1835800" y="6764768"/>
                  <a:pt x="1848454" y="6815379"/>
                </a:cubicBezTo>
                <a:cubicBezTo>
                  <a:pt x="1848454" y="6815379"/>
                  <a:pt x="1848450" y="6802728"/>
                  <a:pt x="1848455" y="6790076"/>
                </a:cubicBezTo>
                <a:cubicBezTo>
                  <a:pt x="1848454" y="6815379"/>
                  <a:pt x="1861108" y="6840686"/>
                  <a:pt x="1848455" y="6865997"/>
                </a:cubicBezTo>
                <a:lnTo>
                  <a:pt x="1873762" y="6891303"/>
                </a:lnTo>
                <a:lnTo>
                  <a:pt x="1861106" y="6891303"/>
                </a:lnTo>
                <a:lnTo>
                  <a:pt x="1861106" y="6903956"/>
                </a:lnTo>
                <a:cubicBezTo>
                  <a:pt x="1861104" y="6908172"/>
                  <a:pt x="1861106" y="6912389"/>
                  <a:pt x="1861103" y="6916605"/>
                </a:cubicBezTo>
                <a:lnTo>
                  <a:pt x="1873760" y="6916608"/>
                </a:lnTo>
                <a:cubicBezTo>
                  <a:pt x="1899070" y="6929262"/>
                  <a:pt x="1873762" y="6954573"/>
                  <a:pt x="1899070" y="6967224"/>
                </a:cubicBezTo>
                <a:cubicBezTo>
                  <a:pt x="1911719" y="6979875"/>
                  <a:pt x="1899066" y="6954569"/>
                  <a:pt x="1899070" y="6929262"/>
                </a:cubicBezTo>
                <a:cubicBezTo>
                  <a:pt x="1899066" y="6954569"/>
                  <a:pt x="1911719" y="6979875"/>
                  <a:pt x="1911720" y="6992532"/>
                </a:cubicBezTo>
                <a:lnTo>
                  <a:pt x="1899068" y="6979878"/>
                </a:lnTo>
                <a:cubicBezTo>
                  <a:pt x="1886414" y="6979880"/>
                  <a:pt x="1886414" y="6979880"/>
                  <a:pt x="1886411" y="6992532"/>
                </a:cubicBezTo>
                <a:cubicBezTo>
                  <a:pt x="1873760" y="6967220"/>
                  <a:pt x="1861106" y="6992532"/>
                  <a:pt x="1861108" y="7017836"/>
                </a:cubicBezTo>
                <a:lnTo>
                  <a:pt x="1861108" y="7043144"/>
                </a:lnTo>
                <a:cubicBezTo>
                  <a:pt x="1861103" y="7055795"/>
                  <a:pt x="1861108" y="7068452"/>
                  <a:pt x="1873757" y="7068452"/>
                </a:cubicBezTo>
                <a:cubicBezTo>
                  <a:pt x="1873758" y="7081103"/>
                  <a:pt x="1886414" y="7081104"/>
                  <a:pt x="1886414" y="7068449"/>
                </a:cubicBezTo>
                <a:lnTo>
                  <a:pt x="1886414" y="7043144"/>
                </a:lnTo>
                <a:cubicBezTo>
                  <a:pt x="1886414" y="7068449"/>
                  <a:pt x="1899066" y="7055795"/>
                  <a:pt x="1911718" y="7068452"/>
                </a:cubicBezTo>
                <a:lnTo>
                  <a:pt x="1911719" y="7081104"/>
                </a:lnTo>
                <a:cubicBezTo>
                  <a:pt x="1911722" y="7093755"/>
                  <a:pt x="1911720" y="7106412"/>
                  <a:pt x="1911720" y="7106412"/>
                </a:cubicBezTo>
                <a:cubicBezTo>
                  <a:pt x="1924374" y="7119068"/>
                  <a:pt x="1924374" y="7119068"/>
                  <a:pt x="1924376" y="7106412"/>
                </a:cubicBezTo>
                <a:lnTo>
                  <a:pt x="1937026" y="7106411"/>
                </a:lnTo>
                <a:lnTo>
                  <a:pt x="1949682" y="7093755"/>
                </a:lnTo>
                <a:cubicBezTo>
                  <a:pt x="1924374" y="7119068"/>
                  <a:pt x="1962336" y="7207640"/>
                  <a:pt x="1911722" y="7131719"/>
                </a:cubicBezTo>
                <a:cubicBezTo>
                  <a:pt x="1918048" y="7157025"/>
                  <a:pt x="1927536" y="7176006"/>
                  <a:pt x="1933865" y="7193405"/>
                </a:cubicBezTo>
                <a:lnTo>
                  <a:pt x="1935281" y="7216802"/>
                </a:lnTo>
                <a:lnTo>
                  <a:pt x="1924374" y="7194987"/>
                </a:lnTo>
                <a:cubicBezTo>
                  <a:pt x="1911720" y="7194986"/>
                  <a:pt x="1911722" y="7207640"/>
                  <a:pt x="1911720" y="7220294"/>
                </a:cubicBezTo>
                <a:lnTo>
                  <a:pt x="1911720" y="7232945"/>
                </a:lnTo>
                <a:cubicBezTo>
                  <a:pt x="1899068" y="7207640"/>
                  <a:pt x="1899066" y="7194987"/>
                  <a:pt x="1886416" y="7169676"/>
                </a:cubicBezTo>
                <a:lnTo>
                  <a:pt x="1873760" y="7182333"/>
                </a:lnTo>
                <a:cubicBezTo>
                  <a:pt x="1861108" y="7182333"/>
                  <a:pt x="1873762" y="7207640"/>
                  <a:pt x="1873760" y="7220291"/>
                </a:cubicBezTo>
                <a:lnTo>
                  <a:pt x="1861106" y="7207640"/>
                </a:lnTo>
                <a:lnTo>
                  <a:pt x="1861106" y="7220295"/>
                </a:lnTo>
                <a:lnTo>
                  <a:pt x="1861106" y="7232945"/>
                </a:lnTo>
                <a:lnTo>
                  <a:pt x="1873762" y="7245600"/>
                </a:lnTo>
                <a:cubicBezTo>
                  <a:pt x="1861108" y="7296216"/>
                  <a:pt x="1937028" y="7308869"/>
                  <a:pt x="1911720" y="7334175"/>
                </a:cubicBezTo>
                <a:cubicBezTo>
                  <a:pt x="1924376" y="7372134"/>
                  <a:pt x="1911720" y="7308869"/>
                  <a:pt x="1937030" y="7321523"/>
                </a:cubicBezTo>
                <a:cubicBezTo>
                  <a:pt x="1911720" y="7308869"/>
                  <a:pt x="1899068" y="7270905"/>
                  <a:pt x="1924374" y="7270908"/>
                </a:cubicBezTo>
                <a:lnTo>
                  <a:pt x="1937028" y="7283561"/>
                </a:lnTo>
                <a:cubicBezTo>
                  <a:pt x="1937027" y="7296215"/>
                  <a:pt x="1949678" y="7308869"/>
                  <a:pt x="1949678" y="7308869"/>
                </a:cubicBezTo>
                <a:cubicBezTo>
                  <a:pt x="1962335" y="7308869"/>
                  <a:pt x="1962335" y="7296215"/>
                  <a:pt x="1949681" y="7270908"/>
                </a:cubicBezTo>
                <a:lnTo>
                  <a:pt x="1949681" y="7258254"/>
                </a:lnTo>
                <a:cubicBezTo>
                  <a:pt x="1974989" y="7270908"/>
                  <a:pt x="1949678" y="7308869"/>
                  <a:pt x="1974986" y="7346829"/>
                </a:cubicBezTo>
                <a:cubicBezTo>
                  <a:pt x="1974986" y="7346829"/>
                  <a:pt x="1962335" y="7346829"/>
                  <a:pt x="1974989" y="7359480"/>
                </a:cubicBezTo>
                <a:cubicBezTo>
                  <a:pt x="1974989" y="7372134"/>
                  <a:pt x="1974989" y="7372134"/>
                  <a:pt x="1987643" y="7372134"/>
                </a:cubicBezTo>
                <a:cubicBezTo>
                  <a:pt x="1974986" y="7397441"/>
                  <a:pt x="2012950" y="7435401"/>
                  <a:pt x="2025602" y="7460709"/>
                </a:cubicBezTo>
                <a:lnTo>
                  <a:pt x="2012950" y="7448058"/>
                </a:lnTo>
                <a:lnTo>
                  <a:pt x="2012951" y="7460709"/>
                </a:lnTo>
                <a:cubicBezTo>
                  <a:pt x="2012950" y="7473362"/>
                  <a:pt x="2012950" y="7473362"/>
                  <a:pt x="2012946" y="7486019"/>
                </a:cubicBezTo>
                <a:lnTo>
                  <a:pt x="2025604" y="7486019"/>
                </a:lnTo>
                <a:cubicBezTo>
                  <a:pt x="2038256" y="7511325"/>
                  <a:pt x="2063564" y="7549284"/>
                  <a:pt x="2076218" y="7574594"/>
                </a:cubicBezTo>
                <a:cubicBezTo>
                  <a:pt x="2076220" y="7587245"/>
                  <a:pt x="2088872" y="7612554"/>
                  <a:pt x="2088870" y="7625205"/>
                </a:cubicBezTo>
                <a:cubicBezTo>
                  <a:pt x="2101526" y="7637859"/>
                  <a:pt x="2114180" y="7663166"/>
                  <a:pt x="2114180" y="7688474"/>
                </a:cubicBezTo>
                <a:lnTo>
                  <a:pt x="2114180" y="7701126"/>
                </a:lnTo>
                <a:lnTo>
                  <a:pt x="2126834" y="7713780"/>
                </a:lnTo>
                <a:cubicBezTo>
                  <a:pt x="2139484" y="7751741"/>
                  <a:pt x="2164793" y="7802355"/>
                  <a:pt x="2190100" y="7852970"/>
                </a:cubicBezTo>
                <a:cubicBezTo>
                  <a:pt x="2202754" y="7890930"/>
                  <a:pt x="2215408" y="7916237"/>
                  <a:pt x="2228060" y="7928891"/>
                </a:cubicBezTo>
                <a:lnTo>
                  <a:pt x="2228060" y="7954194"/>
                </a:lnTo>
                <a:cubicBezTo>
                  <a:pt x="2228060" y="7941545"/>
                  <a:pt x="2215406" y="7941545"/>
                  <a:pt x="2215406" y="7941545"/>
                </a:cubicBezTo>
                <a:cubicBezTo>
                  <a:pt x="2215409" y="7928891"/>
                  <a:pt x="2202750" y="7928891"/>
                  <a:pt x="2202750" y="7928891"/>
                </a:cubicBezTo>
                <a:cubicBezTo>
                  <a:pt x="2202754" y="7941545"/>
                  <a:pt x="2202754" y="7941545"/>
                  <a:pt x="2215406" y="7954197"/>
                </a:cubicBezTo>
                <a:cubicBezTo>
                  <a:pt x="2177446" y="7916237"/>
                  <a:pt x="2202754" y="7979505"/>
                  <a:pt x="2215406" y="7992155"/>
                </a:cubicBezTo>
                <a:lnTo>
                  <a:pt x="2228060" y="8004812"/>
                </a:lnTo>
                <a:lnTo>
                  <a:pt x="2228060" y="8030117"/>
                </a:lnTo>
                <a:lnTo>
                  <a:pt x="2240711" y="8030117"/>
                </a:lnTo>
                <a:cubicBezTo>
                  <a:pt x="2240712" y="8025900"/>
                  <a:pt x="2240712" y="8021682"/>
                  <a:pt x="2240714" y="8017464"/>
                </a:cubicBezTo>
                <a:cubicBezTo>
                  <a:pt x="2253368" y="8030114"/>
                  <a:pt x="2253366" y="8042772"/>
                  <a:pt x="2253366" y="8042772"/>
                </a:cubicBezTo>
                <a:lnTo>
                  <a:pt x="2240714" y="8042772"/>
                </a:lnTo>
                <a:lnTo>
                  <a:pt x="2240714" y="8055425"/>
                </a:lnTo>
                <a:lnTo>
                  <a:pt x="2253370" y="8068077"/>
                </a:lnTo>
                <a:cubicBezTo>
                  <a:pt x="2303982" y="8118692"/>
                  <a:pt x="2303982" y="8131347"/>
                  <a:pt x="2354597" y="8232576"/>
                </a:cubicBezTo>
                <a:cubicBezTo>
                  <a:pt x="2329289" y="8219921"/>
                  <a:pt x="2316636" y="8194613"/>
                  <a:pt x="2341944" y="8283185"/>
                </a:cubicBezTo>
                <a:cubicBezTo>
                  <a:pt x="2354597" y="8270537"/>
                  <a:pt x="2341943" y="8245227"/>
                  <a:pt x="2341943" y="8245227"/>
                </a:cubicBezTo>
                <a:cubicBezTo>
                  <a:pt x="2367251" y="8283188"/>
                  <a:pt x="2417861" y="8359109"/>
                  <a:pt x="2417861" y="8397070"/>
                </a:cubicBezTo>
                <a:cubicBezTo>
                  <a:pt x="2430518" y="8397069"/>
                  <a:pt x="2417864" y="8371760"/>
                  <a:pt x="2430518" y="8397069"/>
                </a:cubicBezTo>
                <a:cubicBezTo>
                  <a:pt x="2430518" y="8460338"/>
                  <a:pt x="2531747" y="8599527"/>
                  <a:pt x="2544400" y="8624834"/>
                </a:cubicBezTo>
                <a:cubicBezTo>
                  <a:pt x="2557050" y="8675448"/>
                  <a:pt x="2632978" y="8814634"/>
                  <a:pt x="2696243" y="8903206"/>
                </a:cubicBezTo>
                <a:lnTo>
                  <a:pt x="2679262" y="8912472"/>
                </a:lnTo>
                <a:lnTo>
                  <a:pt x="2670938" y="8903210"/>
                </a:lnTo>
                <a:cubicBezTo>
                  <a:pt x="2670936" y="8909536"/>
                  <a:pt x="2674100" y="8912700"/>
                  <a:pt x="2678846" y="8912698"/>
                </a:cubicBezTo>
                <a:lnTo>
                  <a:pt x="2679262" y="8912472"/>
                </a:lnTo>
                <a:lnTo>
                  <a:pt x="2699010" y="8934448"/>
                </a:lnTo>
                <a:cubicBezTo>
                  <a:pt x="2726294" y="8975968"/>
                  <a:pt x="2750022" y="9042399"/>
                  <a:pt x="2759512" y="9080360"/>
                </a:cubicBezTo>
                <a:cubicBezTo>
                  <a:pt x="2784818" y="9067706"/>
                  <a:pt x="2759513" y="9093014"/>
                  <a:pt x="2784818" y="9105666"/>
                </a:cubicBezTo>
                <a:cubicBezTo>
                  <a:pt x="2784815" y="9118320"/>
                  <a:pt x="2784818" y="9093014"/>
                  <a:pt x="2797472" y="9105666"/>
                </a:cubicBezTo>
                <a:lnTo>
                  <a:pt x="2797474" y="9130974"/>
                </a:lnTo>
                <a:cubicBezTo>
                  <a:pt x="2797474" y="9130974"/>
                  <a:pt x="2810126" y="9156279"/>
                  <a:pt x="2822778" y="9156278"/>
                </a:cubicBezTo>
                <a:cubicBezTo>
                  <a:pt x="2810126" y="9156279"/>
                  <a:pt x="2797472" y="9143628"/>
                  <a:pt x="2810126" y="9156279"/>
                </a:cubicBezTo>
                <a:cubicBezTo>
                  <a:pt x="2822778" y="9181588"/>
                  <a:pt x="2886044" y="9257506"/>
                  <a:pt x="2911354" y="9308124"/>
                </a:cubicBezTo>
                <a:cubicBezTo>
                  <a:pt x="2911354" y="9308124"/>
                  <a:pt x="2936662" y="9371390"/>
                  <a:pt x="2949317" y="9396696"/>
                </a:cubicBezTo>
                <a:cubicBezTo>
                  <a:pt x="2961968" y="9396696"/>
                  <a:pt x="2961968" y="9384044"/>
                  <a:pt x="2974622" y="9396696"/>
                </a:cubicBezTo>
                <a:cubicBezTo>
                  <a:pt x="2987276" y="9409350"/>
                  <a:pt x="2949317" y="9409350"/>
                  <a:pt x="2974622" y="9422004"/>
                </a:cubicBezTo>
                <a:cubicBezTo>
                  <a:pt x="2987276" y="9409350"/>
                  <a:pt x="2987276" y="9447310"/>
                  <a:pt x="2999928" y="9459962"/>
                </a:cubicBezTo>
                <a:lnTo>
                  <a:pt x="3012582" y="9472618"/>
                </a:lnTo>
                <a:lnTo>
                  <a:pt x="3012584" y="9485268"/>
                </a:lnTo>
                <a:cubicBezTo>
                  <a:pt x="3012584" y="9485268"/>
                  <a:pt x="3012582" y="9497925"/>
                  <a:pt x="3025238" y="9497925"/>
                </a:cubicBezTo>
                <a:cubicBezTo>
                  <a:pt x="3025236" y="9493707"/>
                  <a:pt x="3025235" y="9489489"/>
                  <a:pt x="3025235" y="9485271"/>
                </a:cubicBezTo>
                <a:lnTo>
                  <a:pt x="3037894" y="9485271"/>
                </a:lnTo>
                <a:cubicBezTo>
                  <a:pt x="3050544" y="9510579"/>
                  <a:pt x="3037892" y="9510580"/>
                  <a:pt x="3063194" y="9535886"/>
                </a:cubicBezTo>
                <a:cubicBezTo>
                  <a:pt x="3063197" y="9523232"/>
                  <a:pt x="3050544" y="9510579"/>
                  <a:pt x="3063197" y="9510576"/>
                </a:cubicBezTo>
                <a:lnTo>
                  <a:pt x="3037892" y="9472620"/>
                </a:lnTo>
                <a:lnTo>
                  <a:pt x="3025238" y="9459964"/>
                </a:lnTo>
                <a:lnTo>
                  <a:pt x="3025236" y="9447310"/>
                </a:lnTo>
                <a:lnTo>
                  <a:pt x="3012584" y="9447308"/>
                </a:lnTo>
                <a:cubicBezTo>
                  <a:pt x="2999928" y="9434655"/>
                  <a:pt x="2999928" y="9422001"/>
                  <a:pt x="3012582" y="9434656"/>
                </a:cubicBezTo>
                <a:cubicBezTo>
                  <a:pt x="2949318" y="9346084"/>
                  <a:pt x="2911355" y="9282814"/>
                  <a:pt x="2873393" y="9219549"/>
                </a:cubicBezTo>
                <a:cubicBezTo>
                  <a:pt x="2835432" y="9143628"/>
                  <a:pt x="2810128" y="9080360"/>
                  <a:pt x="2746858" y="8991784"/>
                </a:cubicBezTo>
                <a:cubicBezTo>
                  <a:pt x="2759512" y="9004438"/>
                  <a:pt x="2772164" y="9004438"/>
                  <a:pt x="2759512" y="8991784"/>
                </a:cubicBezTo>
                <a:lnTo>
                  <a:pt x="2772164" y="9004438"/>
                </a:lnTo>
                <a:lnTo>
                  <a:pt x="2772166" y="8991782"/>
                </a:lnTo>
                <a:cubicBezTo>
                  <a:pt x="2772164" y="8979130"/>
                  <a:pt x="2759512" y="8953824"/>
                  <a:pt x="2734200" y="8915860"/>
                </a:cubicBezTo>
                <a:cubicBezTo>
                  <a:pt x="2734202" y="8911644"/>
                  <a:pt x="2734204" y="8907426"/>
                  <a:pt x="2734204" y="8903210"/>
                </a:cubicBezTo>
                <a:cubicBezTo>
                  <a:pt x="2734204" y="8890557"/>
                  <a:pt x="2721550" y="8890558"/>
                  <a:pt x="2721550" y="8890558"/>
                </a:cubicBezTo>
                <a:cubicBezTo>
                  <a:pt x="2721552" y="8886340"/>
                  <a:pt x="2721552" y="8882121"/>
                  <a:pt x="2721552" y="8877904"/>
                </a:cubicBezTo>
                <a:cubicBezTo>
                  <a:pt x="2734204" y="8890557"/>
                  <a:pt x="2746858" y="8890558"/>
                  <a:pt x="2746858" y="8890558"/>
                </a:cubicBezTo>
                <a:cubicBezTo>
                  <a:pt x="2746858" y="8890558"/>
                  <a:pt x="2746854" y="8877903"/>
                  <a:pt x="2746858" y="8865246"/>
                </a:cubicBezTo>
                <a:cubicBezTo>
                  <a:pt x="2746854" y="8877903"/>
                  <a:pt x="2759512" y="8877903"/>
                  <a:pt x="2759512" y="8890556"/>
                </a:cubicBezTo>
                <a:cubicBezTo>
                  <a:pt x="2772164" y="8903210"/>
                  <a:pt x="2721554" y="8814632"/>
                  <a:pt x="2708897" y="8776674"/>
                </a:cubicBezTo>
                <a:lnTo>
                  <a:pt x="2708898" y="8772040"/>
                </a:lnTo>
                <a:lnTo>
                  <a:pt x="2698295" y="8751880"/>
                </a:lnTo>
                <a:lnTo>
                  <a:pt x="2696243" y="8751368"/>
                </a:lnTo>
                <a:lnTo>
                  <a:pt x="2695566" y="8746690"/>
                </a:lnTo>
                <a:lnTo>
                  <a:pt x="2671432" y="8700795"/>
                </a:lnTo>
                <a:lnTo>
                  <a:pt x="2670936" y="8700753"/>
                </a:lnTo>
                <a:lnTo>
                  <a:pt x="2663276" y="8686708"/>
                </a:lnTo>
                <a:lnTo>
                  <a:pt x="2658886" y="8696884"/>
                </a:lnTo>
                <a:cubicBezTo>
                  <a:pt x="2659136" y="8701324"/>
                  <a:pt x="2659385" y="8705766"/>
                  <a:pt x="2654159" y="8707842"/>
                </a:cubicBezTo>
                <a:cubicBezTo>
                  <a:pt x="2619803" y="8667026"/>
                  <a:pt x="2604202" y="8642964"/>
                  <a:pt x="2584451" y="8608449"/>
                </a:cubicBezTo>
                <a:cubicBezTo>
                  <a:pt x="2572000" y="8577084"/>
                  <a:pt x="2552249" y="8542568"/>
                  <a:pt x="2524196" y="8487142"/>
                </a:cubicBezTo>
                <a:cubicBezTo>
                  <a:pt x="2530500" y="8472534"/>
                  <a:pt x="2503446" y="8434868"/>
                  <a:pt x="2494148" y="8396198"/>
                </a:cubicBezTo>
                <a:cubicBezTo>
                  <a:pt x="2495147" y="8413958"/>
                  <a:pt x="2491996" y="8421262"/>
                  <a:pt x="2476394" y="8397201"/>
                </a:cubicBezTo>
                <a:cubicBezTo>
                  <a:pt x="2454647" y="8327166"/>
                  <a:pt x="2388089" y="8220470"/>
                  <a:pt x="2395548" y="8163036"/>
                </a:cubicBezTo>
                <a:cubicBezTo>
                  <a:pt x="2349740" y="8108615"/>
                  <a:pt x="2323844" y="8028123"/>
                  <a:pt x="2308400" y="7943480"/>
                </a:cubicBezTo>
                <a:cubicBezTo>
                  <a:pt x="2301098" y="7940328"/>
                  <a:pt x="2301098" y="7940328"/>
                  <a:pt x="2301098" y="7940328"/>
                </a:cubicBezTo>
                <a:cubicBezTo>
                  <a:pt x="2301098" y="7940328"/>
                  <a:pt x="2304250" y="7933025"/>
                  <a:pt x="2304250" y="7933025"/>
                </a:cubicBezTo>
                <a:cubicBezTo>
                  <a:pt x="2296948" y="7929873"/>
                  <a:pt x="2295948" y="7912115"/>
                  <a:pt x="2295948" y="7912115"/>
                </a:cubicBezTo>
                <a:cubicBezTo>
                  <a:pt x="2291800" y="7901660"/>
                  <a:pt x="2299102" y="7904810"/>
                  <a:pt x="2303249" y="7915265"/>
                </a:cubicBezTo>
                <a:lnTo>
                  <a:pt x="2305222" y="7916473"/>
                </a:lnTo>
                <a:lnTo>
                  <a:pt x="2307401" y="7925720"/>
                </a:lnTo>
                <a:cubicBezTo>
                  <a:pt x="2308977" y="7922068"/>
                  <a:pt x="2309764" y="7920242"/>
                  <a:pt x="2309245" y="7918935"/>
                </a:cubicBezTo>
                <a:lnTo>
                  <a:pt x="2305222" y="7916473"/>
                </a:lnTo>
                <a:lnTo>
                  <a:pt x="2297459" y="7883523"/>
                </a:lnTo>
                <a:cubicBezTo>
                  <a:pt x="2292665" y="7869541"/>
                  <a:pt x="2289302" y="7857261"/>
                  <a:pt x="2296104" y="7851531"/>
                </a:cubicBezTo>
                <a:cubicBezTo>
                  <a:pt x="2336608" y="7938321"/>
                  <a:pt x="2386721" y="7942616"/>
                  <a:pt x="2410464" y="8048171"/>
                </a:cubicBezTo>
                <a:cubicBezTo>
                  <a:pt x="2404162" y="8062779"/>
                  <a:pt x="2388560" y="8038718"/>
                  <a:pt x="2381258" y="8035568"/>
                </a:cubicBezTo>
                <a:cubicBezTo>
                  <a:pt x="2423758" y="8157878"/>
                  <a:pt x="2443352" y="8252978"/>
                  <a:pt x="2510906" y="8377434"/>
                </a:cubicBezTo>
                <a:cubicBezTo>
                  <a:pt x="2509907" y="8359674"/>
                  <a:pt x="2521360" y="8373279"/>
                  <a:pt x="2535962" y="8379581"/>
                </a:cubicBezTo>
                <a:cubicBezTo>
                  <a:pt x="2567165" y="8427702"/>
                  <a:pt x="2576464" y="8466372"/>
                  <a:pt x="2588914" y="8497738"/>
                </a:cubicBezTo>
                <a:cubicBezTo>
                  <a:pt x="2601364" y="8529102"/>
                  <a:pt x="2617962" y="8570924"/>
                  <a:pt x="2659620" y="8614888"/>
                </a:cubicBezTo>
                <a:cubicBezTo>
                  <a:pt x="2665844" y="8630572"/>
                  <a:pt x="2664518" y="8638665"/>
                  <a:pt x="2664623" y="8648457"/>
                </a:cubicBezTo>
                <a:lnTo>
                  <a:pt x="2666112" y="8659284"/>
                </a:lnTo>
                <a:lnTo>
                  <a:pt x="2670938" y="8662794"/>
                </a:lnTo>
                <a:lnTo>
                  <a:pt x="2702213" y="8709080"/>
                </a:lnTo>
                <a:lnTo>
                  <a:pt x="2702321" y="8709128"/>
                </a:lnTo>
                <a:cubicBezTo>
                  <a:pt x="2708710" y="8711884"/>
                  <a:pt x="2715224" y="8716862"/>
                  <a:pt x="2727173" y="8739346"/>
                </a:cubicBezTo>
                <a:lnTo>
                  <a:pt x="2731750" y="8752797"/>
                </a:lnTo>
                <a:lnTo>
                  <a:pt x="2829106" y="8896884"/>
                </a:lnTo>
                <a:cubicBezTo>
                  <a:pt x="2882884" y="8969642"/>
                  <a:pt x="2936662" y="9036072"/>
                  <a:pt x="2987276" y="9093014"/>
                </a:cubicBezTo>
                <a:lnTo>
                  <a:pt x="2999928" y="9105663"/>
                </a:lnTo>
                <a:cubicBezTo>
                  <a:pt x="3012582" y="9118320"/>
                  <a:pt x="3025238" y="9143625"/>
                  <a:pt x="3037892" y="9156280"/>
                </a:cubicBezTo>
                <a:cubicBezTo>
                  <a:pt x="3164428" y="9295468"/>
                  <a:pt x="3316271" y="9434656"/>
                  <a:pt x="3430151" y="9561192"/>
                </a:cubicBezTo>
                <a:cubicBezTo>
                  <a:pt x="3442806" y="9548540"/>
                  <a:pt x="3379536" y="9510579"/>
                  <a:pt x="3379538" y="9497925"/>
                </a:cubicBezTo>
                <a:lnTo>
                  <a:pt x="3392189" y="9497925"/>
                </a:lnTo>
                <a:cubicBezTo>
                  <a:pt x="3392192" y="9510576"/>
                  <a:pt x="3404843" y="9510579"/>
                  <a:pt x="3417497" y="9510579"/>
                </a:cubicBezTo>
                <a:cubicBezTo>
                  <a:pt x="3417497" y="9510579"/>
                  <a:pt x="3417498" y="9497925"/>
                  <a:pt x="3404846" y="9485271"/>
                </a:cubicBezTo>
                <a:lnTo>
                  <a:pt x="3392190" y="9472617"/>
                </a:lnTo>
                <a:cubicBezTo>
                  <a:pt x="3404846" y="9472618"/>
                  <a:pt x="3417497" y="9472618"/>
                  <a:pt x="3430151" y="9485271"/>
                </a:cubicBezTo>
                <a:cubicBezTo>
                  <a:pt x="3430151" y="9489489"/>
                  <a:pt x="3430150" y="9493707"/>
                  <a:pt x="3430150" y="9497925"/>
                </a:cubicBezTo>
                <a:cubicBezTo>
                  <a:pt x="3417498" y="9497925"/>
                  <a:pt x="3430150" y="9497925"/>
                  <a:pt x="3430152" y="9510579"/>
                </a:cubicBezTo>
                <a:lnTo>
                  <a:pt x="3442805" y="9510579"/>
                </a:lnTo>
                <a:cubicBezTo>
                  <a:pt x="3461784" y="9529557"/>
                  <a:pt x="3474438" y="9548538"/>
                  <a:pt x="3487091" y="9562774"/>
                </a:cubicBezTo>
                <a:lnTo>
                  <a:pt x="3531150" y="9586378"/>
                </a:lnTo>
                <a:cubicBezTo>
                  <a:pt x="3531240" y="9586462"/>
                  <a:pt x="3531329" y="9586548"/>
                  <a:pt x="3531419" y="9586632"/>
                </a:cubicBezTo>
                <a:lnTo>
                  <a:pt x="3542453" y="9624460"/>
                </a:lnTo>
                <a:lnTo>
                  <a:pt x="3568812" y="9649767"/>
                </a:lnTo>
                <a:lnTo>
                  <a:pt x="3544032" y="9649767"/>
                </a:lnTo>
                <a:cubicBezTo>
                  <a:pt x="3544032" y="9649767"/>
                  <a:pt x="3544036" y="9675072"/>
                  <a:pt x="3556686" y="9675075"/>
                </a:cubicBezTo>
                <a:lnTo>
                  <a:pt x="3569339" y="9687726"/>
                </a:lnTo>
                <a:cubicBezTo>
                  <a:pt x="3531380" y="9675075"/>
                  <a:pt x="3619955" y="9750996"/>
                  <a:pt x="3657916" y="9788956"/>
                </a:cubicBezTo>
                <a:cubicBezTo>
                  <a:pt x="3657917" y="9793174"/>
                  <a:pt x="3657916" y="9797392"/>
                  <a:pt x="3657914" y="9801610"/>
                </a:cubicBezTo>
                <a:cubicBezTo>
                  <a:pt x="3657917" y="9814262"/>
                  <a:pt x="3670571" y="9814262"/>
                  <a:pt x="3670571" y="9814262"/>
                </a:cubicBezTo>
                <a:lnTo>
                  <a:pt x="3683225" y="9814262"/>
                </a:lnTo>
                <a:cubicBezTo>
                  <a:pt x="3683225" y="9826916"/>
                  <a:pt x="3695876" y="9826916"/>
                  <a:pt x="3708532" y="9826916"/>
                </a:cubicBezTo>
                <a:cubicBezTo>
                  <a:pt x="3771802" y="9890182"/>
                  <a:pt x="3860375" y="9966106"/>
                  <a:pt x="3948950" y="10042026"/>
                </a:cubicBezTo>
                <a:lnTo>
                  <a:pt x="3961601" y="10042026"/>
                </a:lnTo>
                <a:lnTo>
                  <a:pt x="3961601" y="10054677"/>
                </a:lnTo>
                <a:lnTo>
                  <a:pt x="3974255" y="10067332"/>
                </a:lnTo>
                <a:lnTo>
                  <a:pt x="3986910" y="10067332"/>
                </a:lnTo>
                <a:cubicBezTo>
                  <a:pt x="4012212" y="10079986"/>
                  <a:pt x="4037526" y="10105293"/>
                  <a:pt x="4050180" y="10117947"/>
                </a:cubicBezTo>
                <a:cubicBezTo>
                  <a:pt x="4113444" y="10155908"/>
                  <a:pt x="4164060" y="10193868"/>
                  <a:pt x="4202020" y="10231826"/>
                </a:cubicBezTo>
                <a:cubicBezTo>
                  <a:pt x="4176716" y="10231828"/>
                  <a:pt x="4214675" y="10244482"/>
                  <a:pt x="4252636" y="10269788"/>
                </a:cubicBezTo>
                <a:lnTo>
                  <a:pt x="4273434" y="10287000"/>
                </a:lnTo>
                <a:lnTo>
                  <a:pt x="4192550" y="10287000"/>
                </a:lnTo>
                <a:lnTo>
                  <a:pt x="4138751" y="10244482"/>
                </a:lnTo>
                <a:cubicBezTo>
                  <a:pt x="4024871" y="10168562"/>
                  <a:pt x="3910990" y="10067332"/>
                  <a:pt x="3822414" y="9991412"/>
                </a:cubicBezTo>
                <a:cubicBezTo>
                  <a:pt x="3809762" y="9991413"/>
                  <a:pt x="3784451" y="9991412"/>
                  <a:pt x="3784452" y="9978758"/>
                </a:cubicBezTo>
                <a:cubicBezTo>
                  <a:pt x="3733838" y="9953451"/>
                  <a:pt x="3683225" y="9864876"/>
                  <a:pt x="3645262" y="9864876"/>
                </a:cubicBezTo>
                <a:cubicBezTo>
                  <a:pt x="3784451" y="9991412"/>
                  <a:pt x="3936296" y="10130601"/>
                  <a:pt x="4100792" y="10257134"/>
                </a:cubicBezTo>
                <a:lnTo>
                  <a:pt x="4139230" y="10287000"/>
                </a:lnTo>
                <a:lnTo>
                  <a:pt x="4042092" y="10287000"/>
                </a:lnTo>
                <a:lnTo>
                  <a:pt x="3979991" y="10235188"/>
                </a:lnTo>
                <a:cubicBezTo>
                  <a:pt x="3946577" y="10205730"/>
                  <a:pt x="3914152" y="10174887"/>
                  <a:pt x="3885682" y="10143254"/>
                </a:cubicBezTo>
                <a:cubicBezTo>
                  <a:pt x="3822416" y="10092639"/>
                  <a:pt x="3822416" y="10079986"/>
                  <a:pt x="3771802" y="10029369"/>
                </a:cubicBezTo>
                <a:cubicBezTo>
                  <a:pt x="3733836" y="9991408"/>
                  <a:pt x="3695876" y="9940797"/>
                  <a:pt x="3657916" y="9902836"/>
                </a:cubicBezTo>
                <a:cubicBezTo>
                  <a:pt x="3632610" y="9877532"/>
                  <a:pt x="3594652" y="9864876"/>
                  <a:pt x="3594650" y="9852222"/>
                </a:cubicBezTo>
                <a:cubicBezTo>
                  <a:pt x="3569340" y="9839571"/>
                  <a:pt x="3581998" y="9826916"/>
                  <a:pt x="3569340" y="9814263"/>
                </a:cubicBezTo>
                <a:cubicBezTo>
                  <a:pt x="3544032" y="9788956"/>
                  <a:pt x="3480767" y="9763647"/>
                  <a:pt x="3493422" y="9738340"/>
                </a:cubicBezTo>
                <a:cubicBezTo>
                  <a:pt x="3417498" y="9675075"/>
                  <a:pt x="3366884" y="9611806"/>
                  <a:pt x="3303617" y="9535884"/>
                </a:cubicBezTo>
                <a:cubicBezTo>
                  <a:pt x="3290962" y="9523232"/>
                  <a:pt x="3278309" y="9523228"/>
                  <a:pt x="3278308" y="9535886"/>
                </a:cubicBezTo>
                <a:cubicBezTo>
                  <a:pt x="3227696" y="9459964"/>
                  <a:pt x="3164428" y="9371390"/>
                  <a:pt x="3101159" y="9282814"/>
                </a:cubicBezTo>
                <a:cubicBezTo>
                  <a:pt x="3037892" y="9194240"/>
                  <a:pt x="2974622" y="9118317"/>
                  <a:pt x="2924009" y="9055050"/>
                </a:cubicBezTo>
                <a:cubicBezTo>
                  <a:pt x="2924008" y="9067706"/>
                  <a:pt x="2936662" y="9080360"/>
                  <a:pt x="2949317" y="9093010"/>
                </a:cubicBezTo>
                <a:lnTo>
                  <a:pt x="2916180" y="9059880"/>
                </a:lnTo>
                <a:lnTo>
                  <a:pt x="2916390" y="9063592"/>
                </a:lnTo>
                <a:cubicBezTo>
                  <a:pt x="2909088" y="9060442"/>
                  <a:pt x="2904938" y="9049986"/>
                  <a:pt x="2897638" y="9046838"/>
                </a:cubicBezTo>
                <a:cubicBezTo>
                  <a:pt x="2886684" y="9042111"/>
                  <a:pt x="2874695" y="9034772"/>
                  <a:pt x="2868431" y="9034234"/>
                </a:cubicBezTo>
                <a:lnTo>
                  <a:pt x="2866349" y="9036910"/>
                </a:lnTo>
                <a:lnTo>
                  <a:pt x="2886048" y="9074034"/>
                </a:lnTo>
                <a:cubicBezTo>
                  <a:pt x="2898701" y="9099340"/>
                  <a:pt x="2911355" y="9124647"/>
                  <a:pt x="2936662" y="9156279"/>
                </a:cubicBezTo>
                <a:lnTo>
                  <a:pt x="2924008" y="9156278"/>
                </a:lnTo>
                <a:lnTo>
                  <a:pt x="2924009" y="9168934"/>
                </a:lnTo>
                <a:cubicBezTo>
                  <a:pt x="2924008" y="9181588"/>
                  <a:pt x="2936662" y="9194240"/>
                  <a:pt x="2949317" y="9194240"/>
                </a:cubicBezTo>
                <a:cubicBezTo>
                  <a:pt x="2936662" y="9206894"/>
                  <a:pt x="2961968" y="9232202"/>
                  <a:pt x="2974624" y="9257506"/>
                </a:cubicBezTo>
                <a:lnTo>
                  <a:pt x="2987276" y="9257510"/>
                </a:lnTo>
                <a:cubicBezTo>
                  <a:pt x="2999926" y="9270160"/>
                  <a:pt x="3012584" y="9270158"/>
                  <a:pt x="3012584" y="9270158"/>
                </a:cubicBezTo>
                <a:lnTo>
                  <a:pt x="3019736" y="9268968"/>
                </a:lnTo>
                <a:lnTo>
                  <a:pt x="3063198" y="9338571"/>
                </a:lnTo>
                <a:cubicBezTo>
                  <a:pt x="3108278" y="9415677"/>
                  <a:pt x="3139122" y="9482106"/>
                  <a:pt x="3177082" y="9548540"/>
                </a:cubicBezTo>
                <a:cubicBezTo>
                  <a:pt x="3215040" y="9637114"/>
                  <a:pt x="3265658" y="9713032"/>
                  <a:pt x="3328922" y="9826916"/>
                </a:cubicBezTo>
                <a:cubicBezTo>
                  <a:pt x="3328922" y="9801610"/>
                  <a:pt x="3328919" y="9788956"/>
                  <a:pt x="3354232" y="9788956"/>
                </a:cubicBezTo>
                <a:cubicBezTo>
                  <a:pt x="3442806" y="9915490"/>
                  <a:pt x="3531382" y="10042026"/>
                  <a:pt x="3619955" y="10181214"/>
                </a:cubicBezTo>
                <a:lnTo>
                  <a:pt x="3700596" y="10287000"/>
                </a:lnTo>
                <a:lnTo>
                  <a:pt x="3149945" y="10287000"/>
                </a:lnTo>
                <a:lnTo>
                  <a:pt x="2970956" y="10113828"/>
                </a:lnTo>
                <a:cubicBezTo>
                  <a:pt x="2529670" y="9648770"/>
                  <a:pt x="2148152" y="9127170"/>
                  <a:pt x="1838543" y="8560522"/>
                </a:cubicBezTo>
                <a:lnTo>
                  <a:pt x="1724466" y="8334921"/>
                </a:lnTo>
                <a:lnTo>
                  <a:pt x="1746474" y="8411187"/>
                </a:lnTo>
                <a:cubicBezTo>
                  <a:pt x="1763262" y="8466411"/>
                  <a:pt x="1783170" y="8522008"/>
                  <a:pt x="1814813" y="8585349"/>
                </a:cubicBezTo>
                <a:cubicBezTo>
                  <a:pt x="1814420" y="8567566"/>
                  <a:pt x="1825402" y="8581552"/>
                  <a:pt x="1839782" y="8588348"/>
                </a:cubicBezTo>
                <a:cubicBezTo>
                  <a:pt x="1869330" y="8637501"/>
                  <a:pt x="1877309" y="8676465"/>
                  <a:pt x="1888685" y="8708235"/>
                </a:cubicBezTo>
                <a:cubicBezTo>
                  <a:pt x="1900061" y="8740005"/>
                  <a:pt x="1915230" y="8782365"/>
                  <a:pt x="1955369" y="8827724"/>
                </a:cubicBezTo>
                <a:cubicBezTo>
                  <a:pt x="1966744" y="8859495"/>
                  <a:pt x="1948966" y="8859892"/>
                  <a:pt x="1971324" y="8905650"/>
                </a:cubicBezTo>
                <a:cubicBezTo>
                  <a:pt x="1993288" y="8933625"/>
                  <a:pt x="1996294" y="8908648"/>
                  <a:pt x="2018652" y="8954406"/>
                </a:cubicBezTo>
                <a:cubicBezTo>
                  <a:pt x="2023230" y="9000562"/>
                  <a:pt x="2074352" y="9059907"/>
                  <a:pt x="2111486" y="9130240"/>
                </a:cubicBezTo>
                <a:cubicBezTo>
                  <a:pt x="2104688" y="9144628"/>
                  <a:pt x="2141822" y="9214962"/>
                  <a:pt x="2170978" y="9246333"/>
                </a:cubicBezTo>
                <a:cubicBezTo>
                  <a:pt x="2167184" y="9235743"/>
                  <a:pt x="2167184" y="9235743"/>
                  <a:pt x="2167184" y="9235743"/>
                </a:cubicBezTo>
                <a:cubicBezTo>
                  <a:pt x="2163392" y="9225153"/>
                  <a:pt x="2156202" y="9221756"/>
                  <a:pt x="2166791" y="9217959"/>
                </a:cubicBezTo>
                <a:cubicBezTo>
                  <a:pt x="2166791" y="9217959"/>
                  <a:pt x="2170583" y="9228549"/>
                  <a:pt x="2177772" y="9231946"/>
                </a:cubicBezTo>
                <a:cubicBezTo>
                  <a:pt x="2188362" y="9228152"/>
                  <a:pt x="2188362" y="9228152"/>
                  <a:pt x="2188362" y="9228152"/>
                </a:cubicBezTo>
                <a:cubicBezTo>
                  <a:pt x="2210327" y="9256125"/>
                  <a:pt x="2200132" y="9277704"/>
                  <a:pt x="2192548" y="9256526"/>
                </a:cubicBezTo>
                <a:cubicBezTo>
                  <a:pt x="2196340" y="9267114"/>
                  <a:pt x="2196340" y="9267114"/>
                  <a:pt x="2196340" y="9267114"/>
                </a:cubicBezTo>
                <a:cubicBezTo>
                  <a:pt x="2200132" y="9277704"/>
                  <a:pt x="2196734" y="9284898"/>
                  <a:pt x="2196734" y="9284898"/>
                </a:cubicBezTo>
                <a:cubicBezTo>
                  <a:pt x="2189543" y="9281500"/>
                  <a:pt x="2185751" y="9270910"/>
                  <a:pt x="2178560" y="9267513"/>
                </a:cubicBezTo>
                <a:cubicBezTo>
                  <a:pt x="2156988" y="9257322"/>
                  <a:pt x="2131626" y="9236541"/>
                  <a:pt x="2153986" y="9282300"/>
                </a:cubicBezTo>
                <a:cubicBezTo>
                  <a:pt x="2102471" y="9205172"/>
                  <a:pt x="2069129" y="9145428"/>
                  <a:pt x="2046378" y="9081886"/>
                </a:cubicBezTo>
                <a:cubicBezTo>
                  <a:pt x="2013036" y="9022142"/>
                  <a:pt x="1994076" y="8969192"/>
                  <a:pt x="1956944" y="8898856"/>
                </a:cubicBezTo>
                <a:cubicBezTo>
                  <a:pt x="1946354" y="8902653"/>
                  <a:pt x="1957336" y="8916640"/>
                  <a:pt x="1946748" y="8920437"/>
                </a:cubicBezTo>
                <a:cubicBezTo>
                  <a:pt x="1913802" y="8878476"/>
                  <a:pt x="1899026" y="8853898"/>
                  <a:pt x="1880460" y="8818731"/>
                </a:cubicBezTo>
                <a:cubicBezTo>
                  <a:pt x="1869083" y="8786961"/>
                  <a:pt x="1850518" y="8751794"/>
                  <a:pt x="1824366" y="8695446"/>
                </a:cubicBezTo>
                <a:cubicBezTo>
                  <a:pt x="1831162" y="8681061"/>
                  <a:pt x="1805405" y="8642496"/>
                  <a:pt x="1797428" y="8603534"/>
                </a:cubicBezTo>
                <a:cubicBezTo>
                  <a:pt x="1797821" y="8621314"/>
                  <a:pt x="1794424" y="8628508"/>
                  <a:pt x="1779650" y="8603931"/>
                </a:cubicBezTo>
                <a:cubicBezTo>
                  <a:pt x="1760294" y="8533198"/>
                  <a:pt x="1697405" y="8424298"/>
                  <a:pt x="1706812" y="8367155"/>
                </a:cubicBezTo>
                <a:cubicBezTo>
                  <a:pt x="1662881" y="8311205"/>
                  <a:pt x="1639734" y="8229881"/>
                  <a:pt x="1627178" y="8144760"/>
                </a:cubicBezTo>
                <a:cubicBezTo>
                  <a:pt x="1619988" y="8141364"/>
                  <a:pt x="1619988" y="8141364"/>
                  <a:pt x="1619988" y="8141364"/>
                </a:cubicBezTo>
                <a:cubicBezTo>
                  <a:pt x="1619988" y="8141364"/>
                  <a:pt x="1623386" y="8134170"/>
                  <a:pt x="1623386" y="8134170"/>
                </a:cubicBezTo>
                <a:cubicBezTo>
                  <a:pt x="1619790" y="8132472"/>
                  <a:pt x="1617894" y="8127177"/>
                  <a:pt x="1616897" y="8122308"/>
                </a:cubicBezTo>
                <a:lnTo>
                  <a:pt x="1616332" y="8117499"/>
                </a:lnTo>
                <a:lnTo>
                  <a:pt x="1440302" y="7705850"/>
                </a:lnTo>
                <a:cubicBezTo>
                  <a:pt x="1267922" y="7263938"/>
                  <a:pt x="1136690" y="6801146"/>
                  <a:pt x="1051280" y="6321893"/>
                </a:cubicBezTo>
                <a:cubicBezTo>
                  <a:pt x="1038626" y="6309240"/>
                  <a:pt x="1038625" y="6283935"/>
                  <a:pt x="1038625" y="6258624"/>
                </a:cubicBezTo>
                <a:cubicBezTo>
                  <a:pt x="1019644" y="6151070"/>
                  <a:pt x="1003829" y="6043517"/>
                  <a:pt x="989593" y="5935962"/>
                </a:cubicBezTo>
                <a:lnTo>
                  <a:pt x="958919" y="5685665"/>
                </a:lnTo>
                <a:lnTo>
                  <a:pt x="957805" y="5679020"/>
                </a:lnTo>
                <a:lnTo>
                  <a:pt x="957656" y="5675358"/>
                </a:lnTo>
                <a:lnTo>
                  <a:pt x="950050" y="5613296"/>
                </a:lnTo>
                <a:lnTo>
                  <a:pt x="955616" y="5625239"/>
                </a:lnTo>
                <a:lnTo>
                  <a:pt x="954181" y="5589986"/>
                </a:lnTo>
                <a:cubicBezTo>
                  <a:pt x="946903" y="5532035"/>
                  <a:pt x="948833" y="5484063"/>
                  <a:pt x="941941" y="5416520"/>
                </a:cubicBezTo>
                <a:cubicBezTo>
                  <a:pt x="932347" y="5416137"/>
                  <a:pt x="936565" y="5430720"/>
                  <a:pt x="926971" y="5430338"/>
                </a:cubicBezTo>
                <a:cubicBezTo>
                  <a:pt x="914315" y="5386589"/>
                  <a:pt x="910483" y="5362410"/>
                  <a:pt x="907037" y="5328639"/>
                </a:cubicBezTo>
                <a:cubicBezTo>
                  <a:pt x="908197" y="5299856"/>
                  <a:pt x="904750" y="5266083"/>
                  <a:pt x="902077" y="5213123"/>
                </a:cubicBezTo>
                <a:cubicBezTo>
                  <a:pt x="912058" y="5203910"/>
                  <a:pt x="904006" y="5165150"/>
                  <a:pt x="910154" y="5131760"/>
                </a:cubicBezTo>
                <a:cubicBezTo>
                  <a:pt x="904778" y="5145960"/>
                  <a:pt x="899788" y="5150568"/>
                  <a:pt x="895957" y="5126390"/>
                </a:cubicBezTo>
                <a:cubicBezTo>
                  <a:pt x="903263" y="5064216"/>
                  <a:pt x="888320" y="4957913"/>
                  <a:pt x="914044" y="4915692"/>
                </a:cubicBezTo>
                <a:cubicBezTo>
                  <a:pt x="897173" y="4857362"/>
                  <a:pt x="904864" y="4785593"/>
                  <a:pt x="922153" y="4714206"/>
                </a:cubicBezTo>
                <a:cubicBezTo>
                  <a:pt x="917549" y="4709220"/>
                  <a:pt x="917549" y="4709220"/>
                  <a:pt x="917549" y="4709220"/>
                </a:cubicBezTo>
                <a:cubicBezTo>
                  <a:pt x="917549" y="4709220"/>
                  <a:pt x="922538" y="4704612"/>
                  <a:pt x="922538" y="4704612"/>
                </a:cubicBezTo>
                <a:cubicBezTo>
                  <a:pt x="917933" y="4699626"/>
                  <a:pt x="923311" y="4685424"/>
                  <a:pt x="923311" y="4685424"/>
                </a:cubicBezTo>
                <a:cubicBezTo>
                  <a:pt x="923698" y="4675830"/>
                  <a:pt x="928301" y="4680819"/>
                  <a:pt x="927916" y="4690412"/>
                </a:cubicBezTo>
                <a:cubicBezTo>
                  <a:pt x="932519" y="4695401"/>
                  <a:pt x="932519" y="4695401"/>
                  <a:pt x="927530" y="4700007"/>
                </a:cubicBezTo>
                <a:lnTo>
                  <a:pt x="933338" y="4669263"/>
                </a:lnTo>
                <a:lnTo>
                  <a:pt x="946591" y="4403777"/>
                </a:lnTo>
                <a:cubicBezTo>
                  <a:pt x="1026169" y="3391226"/>
                  <a:pt x="1304350" y="2440434"/>
                  <a:pt x="1747224" y="1576832"/>
                </a:cubicBezTo>
                <a:cubicBezTo>
                  <a:pt x="2039838" y="1039058"/>
                  <a:pt x="2396710" y="540825"/>
                  <a:pt x="2805480" y="94493"/>
                </a:cubicBezTo>
                <a:close/>
                <a:moveTo>
                  <a:pt x="1640016" y="0"/>
                </a:moveTo>
                <a:lnTo>
                  <a:pt x="1735528" y="0"/>
                </a:lnTo>
                <a:lnTo>
                  <a:pt x="1681926" y="81093"/>
                </a:lnTo>
                <a:cubicBezTo>
                  <a:pt x="1631794" y="144839"/>
                  <a:pt x="1581656" y="208580"/>
                  <a:pt x="1551839" y="267993"/>
                </a:cubicBezTo>
                <a:cubicBezTo>
                  <a:pt x="1583820" y="218729"/>
                  <a:pt x="1596140" y="226719"/>
                  <a:pt x="1604135" y="214406"/>
                </a:cubicBezTo>
                <a:lnTo>
                  <a:pt x="1604198" y="219425"/>
                </a:lnTo>
                <a:lnTo>
                  <a:pt x="1636301" y="176219"/>
                </a:lnTo>
                <a:lnTo>
                  <a:pt x="1783350" y="0"/>
                </a:lnTo>
                <a:lnTo>
                  <a:pt x="2826772" y="0"/>
                </a:lnTo>
                <a:lnTo>
                  <a:pt x="2746859" y="83717"/>
                </a:lnTo>
                <a:cubicBezTo>
                  <a:pt x="2721552" y="96371"/>
                  <a:pt x="2696242" y="134334"/>
                  <a:pt x="2658284" y="172292"/>
                </a:cubicBezTo>
                <a:cubicBezTo>
                  <a:pt x="2607670" y="235560"/>
                  <a:pt x="2544398" y="311481"/>
                  <a:pt x="2519093" y="349442"/>
                </a:cubicBezTo>
                <a:cubicBezTo>
                  <a:pt x="2531748" y="349442"/>
                  <a:pt x="2531748" y="349442"/>
                  <a:pt x="2544401" y="336788"/>
                </a:cubicBezTo>
                <a:cubicBezTo>
                  <a:pt x="2240716" y="729048"/>
                  <a:pt x="1962332" y="1146614"/>
                  <a:pt x="1747224" y="1576832"/>
                </a:cubicBezTo>
                <a:cubicBezTo>
                  <a:pt x="1329656" y="2336042"/>
                  <a:pt x="1051279" y="3183824"/>
                  <a:pt x="924742" y="4082226"/>
                </a:cubicBezTo>
                <a:cubicBezTo>
                  <a:pt x="886781" y="4360605"/>
                  <a:pt x="861475" y="4626326"/>
                  <a:pt x="848822" y="4904699"/>
                </a:cubicBezTo>
                <a:lnTo>
                  <a:pt x="848822" y="5259002"/>
                </a:lnTo>
                <a:lnTo>
                  <a:pt x="836168" y="5271650"/>
                </a:lnTo>
                <a:lnTo>
                  <a:pt x="836167" y="5309613"/>
                </a:lnTo>
                <a:cubicBezTo>
                  <a:pt x="836167" y="5322267"/>
                  <a:pt x="848822" y="5322267"/>
                  <a:pt x="848822" y="5322267"/>
                </a:cubicBezTo>
                <a:cubicBezTo>
                  <a:pt x="848821" y="5486760"/>
                  <a:pt x="861475" y="5638607"/>
                  <a:pt x="874127" y="5803103"/>
                </a:cubicBezTo>
                <a:cubicBezTo>
                  <a:pt x="1013315" y="7412471"/>
                  <a:pt x="1678816" y="8902222"/>
                  <a:pt x="2714376" y="10074994"/>
                </a:cubicBezTo>
                <a:lnTo>
                  <a:pt x="2912543" y="10287000"/>
                </a:lnTo>
                <a:lnTo>
                  <a:pt x="2242091" y="10287000"/>
                </a:lnTo>
                <a:lnTo>
                  <a:pt x="2206586" y="10246742"/>
                </a:lnTo>
                <a:lnTo>
                  <a:pt x="2073134" y="10110816"/>
                </a:lnTo>
                <a:lnTo>
                  <a:pt x="2072944" y="10110432"/>
                </a:lnTo>
                <a:cubicBezTo>
                  <a:pt x="2072944" y="10110432"/>
                  <a:pt x="2072944" y="10110432"/>
                  <a:pt x="2062562" y="10100046"/>
                </a:cubicBezTo>
                <a:lnTo>
                  <a:pt x="2073134" y="10110816"/>
                </a:lnTo>
                <a:lnTo>
                  <a:pt x="2083324" y="10131204"/>
                </a:lnTo>
                <a:cubicBezTo>
                  <a:pt x="2072942" y="10131204"/>
                  <a:pt x="2062562" y="10131204"/>
                  <a:pt x="2052182" y="10110432"/>
                </a:cubicBezTo>
                <a:cubicBezTo>
                  <a:pt x="2052182" y="10110432"/>
                  <a:pt x="2041802" y="10100046"/>
                  <a:pt x="2041802" y="10100046"/>
                </a:cubicBezTo>
                <a:cubicBezTo>
                  <a:pt x="2031422" y="10100046"/>
                  <a:pt x="2031422" y="10110432"/>
                  <a:pt x="2041802" y="10110432"/>
                </a:cubicBezTo>
                <a:cubicBezTo>
                  <a:pt x="2072942" y="10151974"/>
                  <a:pt x="2117057" y="10198708"/>
                  <a:pt x="2162470" y="10248039"/>
                </a:cubicBezTo>
                <a:lnTo>
                  <a:pt x="2195141" y="10287000"/>
                </a:lnTo>
                <a:lnTo>
                  <a:pt x="2149260" y="10287000"/>
                </a:lnTo>
                <a:lnTo>
                  <a:pt x="2124520" y="10248201"/>
                </a:lnTo>
                <a:cubicBezTo>
                  <a:pt x="2114464" y="10232460"/>
                  <a:pt x="2104084" y="10216882"/>
                  <a:pt x="2093704" y="10203902"/>
                </a:cubicBezTo>
                <a:cubicBezTo>
                  <a:pt x="1979524" y="10068892"/>
                  <a:pt x="1844580" y="9933880"/>
                  <a:pt x="1740782" y="9778100"/>
                </a:cubicBezTo>
                <a:cubicBezTo>
                  <a:pt x="1730400" y="9757332"/>
                  <a:pt x="1730402" y="9746946"/>
                  <a:pt x="1720022" y="9726174"/>
                </a:cubicBezTo>
                <a:cubicBezTo>
                  <a:pt x="1688880" y="9674248"/>
                  <a:pt x="1605842" y="9580779"/>
                  <a:pt x="1595462" y="9539236"/>
                </a:cubicBezTo>
                <a:cubicBezTo>
                  <a:pt x="1585080" y="9549622"/>
                  <a:pt x="1574700" y="9549622"/>
                  <a:pt x="1564320" y="9518468"/>
                </a:cubicBezTo>
                <a:cubicBezTo>
                  <a:pt x="1553940" y="9508083"/>
                  <a:pt x="1522800" y="9425000"/>
                  <a:pt x="1512419" y="9425000"/>
                </a:cubicBezTo>
                <a:cubicBezTo>
                  <a:pt x="1522800" y="9435384"/>
                  <a:pt x="1512420" y="9435386"/>
                  <a:pt x="1512419" y="9445772"/>
                </a:cubicBezTo>
                <a:lnTo>
                  <a:pt x="1496198" y="9418281"/>
                </a:lnTo>
                <a:lnTo>
                  <a:pt x="1485197" y="9418202"/>
                </a:lnTo>
                <a:cubicBezTo>
                  <a:pt x="1479634" y="9417075"/>
                  <a:pt x="1474356" y="9415347"/>
                  <a:pt x="1469904" y="9414448"/>
                </a:cubicBezTo>
                <a:cubicBezTo>
                  <a:pt x="1461001" y="9412650"/>
                  <a:pt x="1455400" y="9414168"/>
                  <a:pt x="1457402" y="9430466"/>
                </a:cubicBezTo>
                <a:cubicBezTo>
                  <a:pt x="1508168" y="9493694"/>
                  <a:pt x="1542696" y="9532455"/>
                  <a:pt x="1583290" y="9593630"/>
                </a:cubicBezTo>
                <a:cubicBezTo>
                  <a:pt x="1615763" y="9642572"/>
                  <a:pt x="1658408" y="9693564"/>
                  <a:pt x="1713180" y="9789388"/>
                </a:cubicBezTo>
                <a:cubicBezTo>
                  <a:pt x="1713180" y="9789388"/>
                  <a:pt x="1700950" y="9797514"/>
                  <a:pt x="1709069" y="9809750"/>
                </a:cubicBezTo>
                <a:cubicBezTo>
                  <a:pt x="1770008" y="9875034"/>
                  <a:pt x="1751717" y="9860744"/>
                  <a:pt x="1804538" y="9913796"/>
                </a:cubicBezTo>
                <a:cubicBezTo>
                  <a:pt x="1820774" y="9938265"/>
                  <a:pt x="1837012" y="9962733"/>
                  <a:pt x="1861366" y="9999440"/>
                </a:cubicBezTo>
                <a:cubicBezTo>
                  <a:pt x="1929450" y="10055574"/>
                  <a:pt x="1984790" y="10122376"/>
                  <a:pt x="2041901" y="10193510"/>
                </a:cubicBezTo>
                <a:lnTo>
                  <a:pt x="2117966" y="10287000"/>
                </a:lnTo>
                <a:lnTo>
                  <a:pt x="2016236" y="10287000"/>
                </a:lnTo>
                <a:lnTo>
                  <a:pt x="1972859" y="10233862"/>
                </a:lnTo>
                <a:cubicBezTo>
                  <a:pt x="1963714" y="10226716"/>
                  <a:pt x="1952024" y="10219058"/>
                  <a:pt x="1940588" y="10210128"/>
                </a:cubicBezTo>
                <a:lnTo>
                  <a:pt x="1917792" y="10186852"/>
                </a:lnTo>
                <a:lnTo>
                  <a:pt x="1917737" y="10185646"/>
                </a:lnTo>
                <a:cubicBezTo>
                  <a:pt x="1916981" y="10182844"/>
                  <a:pt x="1914948" y="10179784"/>
                  <a:pt x="1909860" y="10178757"/>
                </a:cubicBezTo>
                <a:lnTo>
                  <a:pt x="1917792" y="10186852"/>
                </a:lnTo>
                <a:lnTo>
                  <a:pt x="1917978" y="10190992"/>
                </a:lnTo>
                <a:cubicBezTo>
                  <a:pt x="1923068" y="10192020"/>
                  <a:pt x="1925098" y="10195080"/>
                  <a:pt x="1924584" y="10197622"/>
                </a:cubicBezTo>
                <a:lnTo>
                  <a:pt x="1920834" y="10199162"/>
                </a:lnTo>
                <a:lnTo>
                  <a:pt x="1651610" y="9866038"/>
                </a:lnTo>
                <a:lnTo>
                  <a:pt x="1658088" y="9852428"/>
                </a:lnTo>
                <a:cubicBezTo>
                  <a:pt x="1582968" y="9752492"/>
                  <a:pt x="1542377" y="9691316"/>
                  <a:pt x="1467258" y="9591382"/>
                </a:cubicBezTo>
                <a:cubicBezTo>
                  <a:pt x="1453078" y="9556731"/>
                  <a:pt x="1447015" y="9534316"/>
                  <a:pt x="1430779" y="9509848"/>
                </a:cubicBezTo>
                <a:cubicBezTo>
                  <a:pt x="1347538" y="9397677"/>
                  <a:pt x="1266356" y="9275326"/>
                  <a:pt x="1197406" y="9144856"/>
                </a:cubicBezTo>
                <a:cubicBezTo>
                  <a:pt x="1161901" y="9084705"/>
                  <a:pt x="1128943" y="9025072"/>
                  <a:pt x="1094453" y="8966456"/>
                </a:cubicBezTo>
                <a:lnTo>
                  <a:pt x="990553" y="8806798"/>
                </a:lnTo>
                <a:lnTo>
                  <a:pt x="990442" y="8806383"/>
                </a:lnTo>
                <a:cubicBezTo>
                  <a:pt x="990442" y="8806383"/>
                  <a:pt x="990442" y="8806383"/>
                  <a:pt x="982324" y="8794148"/>
                </a:cubicBezTo>
                <a:lnTo>
                  <a:pt x="990553" y="8806798"/>
                </a:lnTo>
                <a:lnTo>
                  <a:pt x="996503" y="8828799"/>
                </a:lnTo>
                <a:cubicBezTo>
                  <a:pt x="986329" y="8826744"/>
                  <a:pt x="976154" y="8824689"/>
                  <a:pt x="970094" y="8802273"/>
                </a:cubicBezTo>
                <a:cubicBezTo>
                  <a:pt x="970094" y="8802273"/>
                  <a:pt x="961973" y="8790038"/>
                  <a:pt x="961973" y="8790038"/>
                </a:cubicBezTo>
                <a:cubicBezTo>
                  <a:pt x="951800" y="8787982"/>
                  <a:pt x="949744" y="8798163"/>
                  <a:pt x="959918" y="8800218"/>
                </a:cubicBezTo>
                <a:cubicBezTo>
                  <a:pt x="1004516" y="8893988"/>
                  <a:pt x="1095872" y="9018393"/>
                  <a:pt x="1146532" y="9134578"/>
                </a:cubicBezTo>
                <a:cubicBezTo>
                  <a:pt x="1132246" y="9152878"/>
                  <a:pt x="1140364" y="9165116"/>
                  <a:pt x="1113953" y="9138590"/>
                </a:cubicBezTo>
                <a:cubicBezTo>
                  <a:pt x="1118065" y="9118233"/>
                  <a:pt x="1093709" y="9081526"/>
                  <a:pt x="1069355" y="9044823"/>
                </a:cubicBezTo>
                <a:cubicBezTo>
                  <a:pt x="1044893" y="9061070"/>
                  <a:pt x="1022702" y="8961231"/>
                  <a:pt x="992285" y="8902113"/>
                </a:cubicBezTo>
                <a:cubicBezTo>
                  <a:pt x="907099" y="8747169"/>
                  <a:pt x="801557" y="8588112"/>
                  <a:pt x="730658" y="8414864"/>
                </a:cubicBezTo>
                <a:cubicBezTo>
                  <a:pt x="724597" y="8392452"/>
                  <a:pt x="726652" y="8382272"/>
                  <a:pt x="720590" y="8359856"/>
                </a:cubicBezTo>
                <a:cubicBezTo>
                  <a:pt x="700346" y="8302793"/>
                  <a:pt x="637459" y="8194733"/>
                  <a:pt x="635510" y="8151957"/>
                </a:cubicBezTo>
                <a:cubicBezTo>
                  <a:pt x="623279" y="8160081"/>
                  <a:pt x="613103" y="8158026"/>
                  <a:pt x="609097" y="8125434"/>
                </a:cubicBezTo>
                <a:cubicBezTo>
                  <a:pt x="600979" y="8113199"/>
                  <a:pt x="586904" y="8025594"/>
                  <a:pt x="576730" y="8023539"/>
                </a:cubicBezTo>
                <a:cubicBezTo>
                  <a:pt x="584848" y="8035775"/>
                  <a:pt x="574673" y="8033718"/>
                  <a:pt x="572618" y="8043899"/>
                </a:cubicBezTo>
                <a:cubicBezTo>
                  <a:pt x="538196" y="7952186"/>
                  <a:pt x="528128" y="7897175"/>
                  <a:pt x="503882" y="7807515"/>
                </a:cubicBezTo>
                <a:cubicBezTo>
                  <a:pt x="546635" y="7805556"/>
                  <a:pt x="566768" y="7915575"/>
                  <a:pt x="584957" y="7982819"/>
                </a:cubicBezTo>
                <a:cubicBezTo>
                  <a:pt x="618457" y="8026670"/>
                  <a:pt x="642272" y="8079158"/>
                  <a:pt x="666584" y="8135721"/>
                </a:cubicBezTo>
                <a:lnTo>
                  <a:pt x="737858" y="8285064"/>
                </a:lnTo>
                <a:lnTo>
                  <a:pt x="741046" y="8311013"/>
                </a:lnTo>
                <a:cubicBezTo>
                  <a:pt x="741046" y="8311013"/>
                  <a:pt x="741046" y="8311013"/>
                  <a:pt x="751222" y="8313069"/>
                </a:cubicBezTo>
                <a:lnTo>
                  <a:pt x="737858" y="8285064"/>
                </a:lnTo>
                <a:lnTo>
                  <a:pt x="737039" y="8278418"/>
                </a:lnTo>
                <a:cubicBezTo>
                  <a:pt x="749272" y="8270292"/>
                  <a:pt x="757390" y="8282528"/>
                  <a:pt x="755335" y="8292708"/>
                </a:cubicBezTo>
                <a:cubicBezTo>
                  <a:pt x="765508" y="8294763"/>
                  <a:pt x="765508" y="8294763"/>
                  <a:pt x="765508" y="8294763"/>
                </a:cubicBezTo>
                <a:cubicBezTo>
                  <a:pt x="727078" y="8170454"/>
                  <a:pt x="672415" y="8021676"/>
                  <a:pt x="619700" y="7915673"/>
                </a:cubicBezTo>
                <a:lnTo>
                  <a:pt x="595768" y="7799183"/>
                </a:lnTo>
                <a:lnTo>
                  <a:pt x="566957" y="7711010"/>
                </a:lnTo>
                <a:lnTo>
                  <a:pt x="544270" y="7665315"/>
                </a:lnTo>
                <a:cubicBezTo>
                  <a:pt x="527885" y="7626243"/>
                  <a:pt x="510358" y="7574375"/>
                  <a:pt x="490513" y="7517186"/>
                </a:cubicBezTo>
                <a:cubicBezTo>
                  <a:pt x="450826" y="7402809"/>
                  <a:pt x="408526" y="7259183"/>
                  <a:pt x="368836" y="7144805"/>
                </a:cubicBezTo>
                <a:cubicBezTo>
                  <a:pt x="350299" y="7102242"/>
                  <a:pt x="339722" y="7066337"/>
                  <a:pt x="329147" y="7030430"/>
                </a:cubicBezTo>
                <a:cubicBezTo>
                  <a:pt x="286849" y="6886802"/>
                  <a:pt x="267137" y="6748517"/>
                  <a:pt x="240769" y="6618203"/>
                </a:cubicBezTo>
                <a:cubicBezTo>
                  <a:pt x="236137" y="6607562"/>
                  <a:pt x="229510" y="6595259"/>
                  <a:pt x="223714" y="6581958"/>
                </a:cubicBezTo>
                <a:lnTo>
                  <a:pt x="214768" y="6550631"/>
                </a:lnTo>
                <a:lnTo>
                  <a:pt x="215294" y="6549543"/>
                </a:lnTo>
                <a:cubicBezTo>
                  <a:pt x="215963" y="6546719"/>
                  <a:pt x="215638" y="6543062"/>
                  <a:pt x="211654" y="6539733"/>
                </a:cubicBezTo>
                <a:lnTo>
                  <a:pt x="214768" y="6550631"/>
                </a:lnTo>
                <a:lnTo>
                  <a:pt x="212959" y="6554360"/>
                </a:lnTo>
                <a:cubicBezTo>
                  <a:pt x="216941" y="6557687"/>
                  <a:pt x="217270" y="6561345"/>
                  <a:pt x="215606" y="6563334"/>
                </a:cubicBezTo>
                <a:lnTo>
                  <a:pt x="211577" y="6562901"/>
                </a:lnTo>
                <a:lnTo>
                  <a:pt x="133682" y="6141731"/>
                </a:lnTo>
                <a:lnTo>
                  <a:pt x="145867" y="6132851"/>
                </a:lnTo>
                <a:cubicBezTo>
                  <a:pt x="127462" y="6009194"/>
                  <a:pt x="120935" y="5936066"/>
                  <a:pt x="102532" y="5812410"/>
                </a:cubicBezTo>
                <a:cubicBezTo>
                  <a:pt x="106582" y="5775189"/>
                  <a:pt x="111940" y="5752595"/>
                  <a:pt x="109325" y="5723345"/>
                </a:cubicBezTo>
                <a:cubicBezTo>
                  <a:pt x="89617" y="5585060"/>
                  <a:pt x="76567" y="5438808"/>
                  <a:pt x="78142" y="5291246"/>
                </a:cubicBezTo>
                <a:cubicBezTo>
                  <a:pt x="75601" y="5221445"/>
                  <a:pt x="75049" y="5153312"/>
                  <a:pt x="72668" y="5085344"/>
                </a:cubicBezTo>
                <a:lnTo>
                  <a:pt x="57433" y="4895465"/>
                </a:lnTo>
                <a:lnTo>
                  <a:pt x="57532" y="4895049"/>
                </a:lnTo>
                <a:cubicBezTo>
                  <a:pt x="57532" y="4895049"/>
                  <a:pt x="57532" y="4895049"/>
                  <a:pt x="56227" y="4880423"/>
                </a:cubicBezTo>
                <a:lnTo>
                  <a:pt x="57433" y="4895465"/>
                </a:lnTo>
                <a:lnTo>
                  <a:pt x="52177" y="4917644"/>
                </a:lnTo>
                <a:cubicBezTo>
                  <a:pt x="44213" y="4910987"/>
                  <a:pt x="36247" y="4904330"/>
                  <a:pt x="41602" y="4881735"/>
                </a:cubicBezTo>
                <a:cubicBezTo>
                  <a:pt x="41602" y="4881735"/>
                  <a:pt x="40297" y="4867110"/>
                  <a:pt x="40297" y="4867110"/>
                </a:cubicBezTo>
                <a:cubicBezTo>
                  <a:pt x="32332" y="4860453"/>
                  <a:pt x="25672" y="4868423"/>
                  <a:pt x="33638" y="4875080"/>
                </a:cubicBezTo>
                <a:cubicBezTo>
                  <a:pt x="28147" y="4978769"/>
                  <a:pt x="49160" y="5131679"/>
                  <a:pt x="38317" y="5257962"/>
                </a:cubicBezTo>
                <a:cubicBezTo>
                  <a:pt x="17035" y="5267243"/>
                  <a:pt x="18338" y="5281868"/>
                  <a:pt x="7763" y="5245961"/>
                </a:cubicBezTo>
                <a:cubicBezTo>
                  <a:pt x="21083" y="5230025"/>
                  <a:pt x="17167" y="5186145"/>
                  <a:pt x="13253" y="5142273"/>
                </a:cubicBezTo>
                <a:cubicBezTo>
                  <a:pt x="-15996" y="5144895"/>
                  <a:pt x="12085" y="5046551"/>
                  <a:pt x="13523" y="4980081"/>
                </a:cubicBezTo>
                <a:cubicBezTo>
                  <a:pt x="12487" y="4803267"/>
                  <a:pt x="-4477" y="4613139"/>
                  <a:pt x="15772" y="4427040"/>
                </a:cubicBezTo>
                <a:cubicBezTo>
                  <a:pt x="21127" y="4404449"/>
                  <a:pt x="27787" y="4396479"/>
                  <a:pt x="33140" y="4373885"/>
                </a:cubicBezTo>
                <a:cubicBezTo>
                  <a:pt x="42544" y="4314074"/>
                  <a:pt x="38765" y="4189101"/>
                  <a:pt x="57440" y="4150566"/>
                </a:cubicBezTo>
                <a:cubicBezTo>
                  <a:pt x="42815" y="4151882"/>
                  <a:pt x="34852" y="4145225"/>
                  <a:pt x="46864" y="4114664"/>
                </a:cubicBezTo>
                <a:cubicBezTo>
                  <a:pt x="45886" y="4103694"/>
                  <a:pt x="62168" y="4053858"/>
                  <a:pt x="67012" y="4026818"/>
                </a:cubicBezTo>
                <a:lnTo>
                  <a:pt x="67000" y="4020699"/>
                </a:lnTo>
                <a:lnTo>
                  <a:pt x="65014" y="4025822"/>
                </a:lnTo>
                <a:cubicBezTo>
                  <a:pt x="64348" y="4027533"/>
                  <a:pt x="64348" y="4027533"/>
                  <a:pt x="64348" y="4027533"/>
                </a:cubicBezTo>
                <a:lnTo>
                  <a:pt x="61525" y="4021134"/>
                </a:lnTo>
                <a:lnTo>
                  <a:pt x="53659" y="4025597"/>
                </a:lnTo>
                <a:lnTo>
                  <a:pt x="56329" y="4009362"/>
                </a:lnTo>
                <a:lnTo>
                  <a:pt x="51775" y="3999042"/>
                </a:lnTo>
                <a:cubicBezTo>
                  <a:pt x="57086" y="3985355"/>
                  <a:pt x="57086" y="3985355"/>
                  <a:pt x="57086" y="3985355"/>
                </a:cubicBezTo>
                <a:cubicBezTo>
                  <a:pt x="57086" y="3985355"/>
                  <a:pt x="57086" y="3985355"/>
                  <a:pt x="58274" y="3984828"/>
                </a:cubicBezTo>
                <a:lnTo>
                  <a:pt x="60529" y="3983834"/>
                </a:lnTo>
                <a:lnTo>
                  <a:pt x="62828" y="3969863"/>
                </a:lnTo>
                <a:lnTo>
                  <a:pt x="56248" y="3950091"/>
                </a:lnTo>
                <a:cubicBezTo>
                  <a:pt x="51574" y="3906947"/>
                  <a:pt x="62270" y="3829898"/>
                  <a:pt x="73595" y="3739805"/>
                </a:cubicBezTo>
                <a:cubicBezTo>
                  <a:pt x="88697" y="3619683"/>
                  <a:pt x="114418" y="3472184"/>
                  <a:pt x="129517" y="3352061"/>
                </a:cubicBezTo>
                <a:cubicBezTo>
                  <a:pt x="131758" y="3305691"/>
                  <a:pt x="138187" y="3268815"/>
                  <a:pt x="144617" y="3231939"/>
                </a:cubicBezTo>
                <a:cubicBezTo>
                  <a:pt x="170339" y="3084440"/>
                  <a:pt x="213943" y="2951736"/>
                  <a:pt x="248047" y="2823230"/>
                </a:cubicBezTo>
                <a:cubicBezTo>
                  <a:pt x="248606" y="2811638"/>
                  <a:pt x="248120" y="2797671"/>
                  <a:pt x="248816" y="2783181"/>
                </a:cubicBezTo>
                <a:lnTo>
                  <a:pt x="254678" y="2751132"/>
                </a:lnTo>
                <a:lnTo>
                  <a:pt x="255632" y="2750391"/>
                </a:lnTo>
                <a:cubicBezTo>
                  <a:pt x="257483" y="2748155"/>
                  <a:pt x="258811" y="2744733"/>
                  <a:pt x="256715" y="2739984"/>
                </a:cubicBezTo>
                <a:lnTo>
                  <a:pt x="254678" y="2751132"/>
                </a:lnTo>
                <a:lnTo>
                  <a:pt x="251404" y="2753673"/>
                </a:lnTo>
                <a:cubicBezTo>
                  <a:pt x="253499" y="2758421"/>
                  <a:pt x="252173" y="2761847"/>
                  <a:pt x="249802" y="2762892"/>
                </a:cubicBezTo>
                <a:lnTo>
                  <a:pt x="246382" y="2760717"/>
                </a:lnTo>
                <a:lnTo>
                  <a:pt x="363172" y="2348637"/>
                </a:lnTo>
                <a:lnTo>
                  <a:pt x="378028" y="2346074"/>
                </a:lnTo>
                <a:cubicBezTo>
                  <a:pt x="416323" y="2227064"/>
                  <a:pt x="442874" y="2158616"/>
                  <a:pt x="481169" y="2039606"/>
                </a:cubicBezTo>
                <a:cubicBezTo>
                  <a:pt x="501292" y="2008034"/>
                  <a:pt x="516106" y="1990151"/>
                  <a:pt x="526723" y="1962774"/>
                </a:cubicBezTo>
                <a:cubicBezTo>
                  <a:pt x="570329" y="1830071"/>
                  <a:pt x="623435" y="1693178"/>
                  <a:pt x="690233" y="1561589"/>
                </a:cubicBezTo>
                <a:cubicBezTo>
                  <a:pt x="718880" y="1497890"/>
                  <a:pt x="748577" y="1436565"/>
                  <a:pt x="776561" y="1374578"/>
                </a:cubicBezTo>
                <a:lnTo>
                  <a:pt x="847036" y="1197606"/>
                </a:lnTo>
                <a:lnTo>
                  <a:pt x="847310" y="1197278"/>
                </a:lnTo>
                <a:cubicBezTo>
                  <a:pt x="847310" y="1197278"/>
                  <a:pt x="847310" y="1197278"/>
                  <a:pt x="852622" y="1183587"/>
                </a:cubicBezTo>
                <a:lnTo>
                  <a:pt x="847036" y="1197606"/>
                </a:lnTo>
                <a:lnTo>
                  <a:pt x="832498" y="1215161"/>
                </a:lnTo>
                <a:cubicBezTo>
                  <a:pt x="828308" y="1205664"/>
                  <a:pt x="824116" y="1196169"/>
                  <a:pt x="838928" y="1178285"/>
                </a:cubicBezTo>
                <a:cubicBezTo>
                  <a:pt x="838928" y="1178285"/>
                  <a:pt x="844240" y="1164594"/>
                  <a:pt x="844240" y="1164594"/>
                </a:cubicBezTo>
                <a:cubicBezTo>
                  <a:pt x="840050" y="1155098"/>
                  <a:pt x="830546" y="1159292"/>
                  <a:pt x="834739" y="1168788"/>
                </a:cubicBezTo>
                <a:cubicBezTo>
                  <a:pt x="783872" y="1259310"/>
                  <a:pt x="734956" y="1405701"/>
                  <a:pt x="669278" y="1514108"/>
                </a:cubicBezTo>
                <a:cubicBezTo>
                  <a:pt x="646087" y="1512995"/>
                  <a:pt x="640775" y="1526684"/>
                  <a:pt x="647206" y="1489808"/>
                </a:cubicBezTo>
                <a:cubicBezTo>
                  <a:pt x="666206" y="1481423"/>
                  <a:pt x="682141" y="1440354"/>
                  <a:pt x="698071" y="1399286"/>
                </a:cubicBezTo>
                <a:cubicBezTo>
                  <a:pt x="670687" y="1388678"/>
                  <a:pt x="739438" y="1312958"/>
                  <a:pt x="770180" y="1254008"/>
                </a:cubicBezTo>
                <a:cubicBezTo>
                  <a:pt x="847600" y="1095041"/>
                  <a:pt x="916636" y="917075"/>
                  <a:pt x="1017248" y="759218"/>
                </a:cubicBezTo>
                <a:cubicBezTo>
                  <a:pt x="1032058" y="741336"/>
                  <a:pt x="1041560" y="737144"/>
                  <a:pt x="1056373" y="719261"/>
                </a:cubicBezTo>
                <a:cubicBezTo>
                  <a:pt x="1091308" y="669806"/>
                  <a:pt x="1143295" y="556101"/>
                  <a:pt x="1177109" y="529832"/>
                </a:cubicBezTo>
                <a:cubicBezTo>
                  <a:pt x="1163416" y="524528"/>
                  <a:pt x="1159226" y="515031"/>
                  <a:pt x="1183537" y="492956"/>
                </a:cubicBezTo>
                <a:cubicBezTo>
                  <a:pt x="1188850" y="479267"/>
                  <a:pt x="1252286" y="417234"/>
                  <a:pt x="1248095" y="407736"/>
                </a:cubicBezTo>
                <a:cubicBezTo>
                  <a:pt x="1242784" y="421427"/>
                  <a:pt x="1238594" y="411930"/>
                  <a:pt x="1229092" y="416123"/>
                </a:cubicBezTo>
                <a:cubicBezTo>
                  <a:pt x="1284149" y="335099"/>
                  <a:pt x="1323278" y="295140"/>
                  <a:pt x="1382525" y="223613"/>
                </a:cubicBezTo>
                <a:cubicBezTo>
                  <a:pt x="1408789" y="257405"/>
                  <a:pt x="1330538" y="337317"/>
                  <a:pt x="1286102" y="390965"/>
                </a:cubicBezTo>
                <a:cubicBezTo>
                  <a:pt x="1269610" y="443627"/>
                  <a:pt x="1240474" y="493356"/>
                  <a:pt x="1208299" y="545849"/>
                </a:cubicBezTo>
                <a:lnTo>
                  <a:pt x="1127428" y="690221"/>
                </a:lnTo>
                <a:lnTo>
                  <a:pt x="1108069" y="707793"/>
                </a:lnTo>
                <a:cubicBezTo>
                  <a:pt x="1108069" y="707793"/>
                  <a:pt x="1108069" y="707793"/>
                  <a:pt x="1112260" y="717290"/>
                </a:cubicBezTo>
                <a:lnTo>
                  <a:pt x="1127428" y="690221"/>
                </a:lnTo>
                <a:lnTo>
                  <a:pt x="1132385" y="685718"/>
                </a:lnTo>
                <a:cubicBezTo>
                  <a:pt x="1146076" y="691020"/>
                  <a:pt x="1140766" y="704711"/>
                  <a:pt x="1131265" y="708903"/>
                </a:cubicBezTo>
                <a:cubicBezTo>
                  <a:pt x="1135454" y="718400"/>
                  <a:pt x="1135454" y="718400"/>
                  <a:pt x="1135454" y="718400"/>
                </a:cubicBezTo>
                <a:cubicBezTo>
                  <a:pt x="1175140" y="666849"/>
                  <a:pt x="1217480" y="608454"/>
                  <a:pt x="1256921" y="549921"/>
                </a:cubicBezTo>
                <a:lnTo>
                  <a:pt x="1309982" y="467855"/>
                </a:lnTo>
                <a:lnTo>
                  <a:pt x="1323848" y="443909"/>
                </a:lnTo>
                <a:lnTo>
                  <a:pt x="1324727" y="443033"/>
                </a:lnTo>
                <a:lnTo>
                  <a:pt x="1360994" y="380607"/>
                </a:lnTo>
                <a:lnTo>
                  <a:pt x="1424365" y="313029"/>
                </a:lnTo>
                <a:lnTo>
                  <a:pt x="1496720" y="196157"/>
                </a:lnTo>
                <a:cubicBezTo>
                  <a:pt x="1536966" y="135848"/>
                  <a:pt x="1580024" y="76266"/>
                  <a:pt x="1626158" y="18683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altLang="ko-KR" dirty="0"/>
              <a:t>Place Your Picture Her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45771675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2_Images &amp; Conten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그림 개체 틀 121">
            <a:extLst>
              <a:ext uri="{FF2B5EF4-FFF2-40B4-BE49-F238E27FC236}">
                <a16:creationId xmlns:a16="http://schemas.microsoft.com/office/drawing/2014/main" id="{A5626D23-6CC7-4600-833F-1D3C40A75C48}"/>
              </a:ext>
            </a:extLst>
          </p:cNvPr>
          <p:cNvSpPr>
            <a:spLocks noGrp="1"/>
          </p:cNvSpPr>
          <p:nvPr>
            <p:ph type="pic" sz="quarter" idx="65" hasCustomPrompt="1"/>
          </p:nvPr>
        </p:nvSpPr>
        <p:spPr>
          <a:xfrm>
            <a:off x="5164510" y="635635"/>
            <a:ext cx="6379790" cy="5586731"/>
          </a:xfrm>
          <a:custGeom>
            <a:avLst/>
            <a:gdLst>
              <a:gd name="connsiteX0" fmla="*/ 0 w 6379790"/>
              <a:gd name="connsiteY0" fmla="*/ 4788536 h 5586731"/>
              <a:gd name="connsiteX1" fmla="*/ 797474 w 6379790"/>
              <a:gd name="connsiteY1" fmla="*/ 4788536 h 5586731"/>
              <a:gd name="connsiteX2" fmla="*/ 797474 w 6379790"/>
              <a:gd name="connsiteY2" fmla="*/ 5586731 h 5586731"/>
              <a:gd name="connsiteX3" fmla="*/ 0 w 6379790"/>
              <a:gd name="connsiteY3" fmla="*/ 5586731 h 5586731"/>
              <a:gd name="connsiteX4" fmla="*/ 2392422 w 6379790"/>
              <a:gd name="connsiteY4" fmla="*/ 3990341 h 5586731"/>
              <a:gd name="connsiteX5" fmla="*/ 2392422 w 6379790"/>
              <a:gd name="connsiteY5" fmla="*/ 4788536 h 5586731"/>
              <a:gd name="connsiteX6" fmla="*/ 3189895 w 6379790"/>
              <a:gd name="connsiteY6" fmla="*/ 4788536 h 5586731"/>
              <a:gd name="connsiteX7" fmla="*/ 3189895 w 6379790"/>
              <a:gd name="connsiteY7" fmla="*/ 3990341 h 5586731"/>
              <a:gd name="connsiteX8" fmla="*/ 0 w 6379790"/>
              <a:gd name="connsiteY8" fmla="*/ 3192146 h 5586731"/>
              <a:gd name="connsiteX9" fmla="*/ 797474 w 6379790"/>
              <a:gd name="connsiteY9" fmla="*/ 3192146 h 5586731"/>
              <a:gd name="connsiteX10" fmla="*/ 797474 w 6379790"/>
              <a:gd name="connsiteY10" fmla="*/ 3990341 h 5586731"/>
              <a:gd name="connsiteX11" fmla="*/ 0 w 6379790"/>
              <a:gd name="connsiteY11" fmla="*/ 3990341 h 5586731"/>
              <a:gd name="connsiteX12" fmla="*/ 1594948 w 6379790"/>
              <a:gd name="connsiteY12" fmla="*/ 0 h 5586731"/>
              <a:gd name="connsiteX13" fmla="*/ 3189895 w 6379790"/>
              <a:gd name="connsiteY13" fmla="*/ 0 h 5586731"/>
              <a:gd name="connsiteX14" fmla="*/ 3189895 w 6379790"/>
              <a:gd name="connsiteY14" fmla="*/ 797563 h 5586731"/>
              <a:gd name="connsiteX15" fmla="*/ 3987369 w 6379790"/>
              <a:gd name="connsiteY15" fmla="*/ 797563 h 5586731"/>
              <a:gd name="connsiteX16" fmla="*/ 3987369 w 6379790"/>
              <a:gd name="connsiteY16" fmla="*/ 0 h 5586731"/>
              <a:gd name="connsiteX17" fmla="*/ 6379790 w 6379790"/>
              <a:gd name="connsiteY17" fmla="*/ 0 h 5586731"/>
              <a:gd name="connsiteX18" fmla="*/ 6379790 w 6379790"/>
              <a:gd name="connsiteY18" fmla="*/ 797561 h 5586731"/>
              <a:gd name="connsiteX19" fmla="*/ 6379790 w 6379790"/>
              <a:gd name="connsiteY19" fmla="*/ 797562 h 5586731"/>
              <a:gd name="connsiteX20" fmla="*/ 6379790 w 6379790"/>
              <a:gd name="connsiteY20" fmla="*/ 1595756 h 5586731"/>
              <a:gd name="connsiteX21" fmla="*/ 5582317 w 6379790"/>
              <a:gd name="connsiteY21" fmla="*/ 1595756 h 5586731"/>
              <a:gd name="connsiteX22" fmla="*/ 5582317 w 6379790"/>
              <a:gd name="connsiteY22" fmla="*/ 2393951 h 5586731"/>
              <a:gd name="connsiteX23" fmla="*/ 6379790 w 6379790"/>
              <a:gd name="connsiteY23" fmla="*/ 2393951 h 5586731"/>
              <a:gd name="connsiteX24" fmla="*/ 6379790 w 6379790"/>
              <a:gd name="connsiteY24" fmla="*/ 3192146 h 5586731"/>
              <a:gd name="connsiteX25" fmla="*/ 6379790 w 6379790"/>
              <a:gd name="connsiteY25" fmla="*/ 3990341 h 5586731"/>
              <a:gd name="connsiteX26" fmla="*/ 6379790 w 6379790"/>
              <a:gd name="connsiteY26" fmla="*/ 4788536 h 5586731"/>
              <a:gd name="connsiteX27" fmla="*/ 6379790 w 6379790"/>
              <a:gd name="connsiteY27" fmla="*/ 5586731 h 5586731"/>
              <a:gd name="connsiteX28" fmla="*/ 5582316 w 6379790"/>
              <a:gd name="connsiteY28" fmla="*/ 5586731 h 5586731"/>
              <a:gd name="connsiteX29" fmla="*/ 5582316 w 6379790"/>
              <a:gd name="connsiteY29" fmla="*/ 4788536 h 5586731"/>
              <a:gd name="connsiteX30" fmla="*/ 4784843 w 6379790"/>
              <a:gd name="connsiteY30" fmla="*/ 4788536 h 5586731"/>
              <a:gd name="connsiteX31" fmla="*/ 4784843 w 6379790"/>
              <a:gd name="connsiteY31" fmla="*/ 5586731 h 5586731"/>
              <a:gd name="connsiteX32" fmla="*/ 3987369 w 6379790"/>
              <a:gd name="connsiteY32" fmla="*/ 5586731 h 5586731"/>
              <a:gd name="connsiteX33" fmla="*/ 3189895 w 6379790"/>
              <a:gd name="connsiteY33" fmla="*/ 5586731 h 5586731"/>
              <a:gd name="connsiteX34" fmla="*/ 2392422 w 6379790"/>
              <a:gd name="connsiteY34" fmla="*/ 5586731 h 5586731"/>
              <a:gd name="connsiteX35" fmla="*/ 2392421 w 6379790"/>
              <a:gd name="connsiteY35" fmla="*/ 5586731 h 5586731"/>
              <a:gd name="connsiteX36" fmla="*/ 1594948 w 6379790"/>
              <a:gd name="connsiteY36" fmla="*/ 5586731 h 5586731"/>
              <a:gd name="connsiteX37" fmla="*/ 1594948 w 6379790"/>
              <a:gd name="connsiteY37" fmla="*/ 4788536 h 5586731"/>
              <a:gd name="connsiteX38" fmla="*/ 797474 w 6379790"/>
              <a:gd name="connsiteY38" fmla="*/ 4788536 h 5586731"/>
              <a:gd name="connsiteX39" fmla="*/ 797474 w 6379790"/>
              <a:gd name="connsiteY39" fmla="*/ 3990341 h 5586731"/>
              <a:gd name="connsiteX40" fmla="*/ 1594948 w 6379790"/>
              <a:gd name="connsiteY40" fmla="*/ 3990341 h 5586731"/>
              <a:gd name="connsiteX41" fmla="*/ 1594948 w 6379790"/>
              <a:gd name="connsiteY41" fmla="*/ 3192146 h 5586731"/>
              <a:gd name="connsiteX42" fmla="*/ 2392421 w 6379790"/>
              <a:gd name="connsiteY42" fmla="*/ 3192146 h 5586731"/>
              <a:gd name="connsiteX43" fmla="*/ 2392421 w 6379790"/>
              <a:gd name="connsiteY43" fmla="*/ 2393951 h 5586731"/>
              <a:gd name="connsiteX44" fmla="*/ 1594948 w 6379790"/>
              <a:gd name="connsiteY44" fmla="*/ 2393951 h 5586731"/>
              <a:gd name="connsiteX45" fmla="*/ 1594948 w 6379790"/>
              <a:gd name="connsiteY45" fmla="*/ 3192146 h 5586731"/>
              <a:gd name="connsiteX46" fmla="*/ 797474 w 6379790"/>
              <a:gd name="connsiteY46" fmla="*/ 3192146 h 5586731"/>
              <a:gd name="connsiteX47" fmla="*/ 797474 w 6379790"/>
              <a:gd name="connsiteY47" fmla="*/ 2393951 h 5586731"/>
              <a:gd name="connsiteX48" fmla="*/ 0 w 6379790"/>
              <a:gd name="connsiteY48" fmla="*/ 2393951 h 5586731"/>
              <a:gd name="connsiteX49" fmla="*/ 0 w 6379790"/>
              <a:gd name="connsiteY49" fmla="*/ 1595756 h 5586731"/>
              <a:gd name="connsiteX50" fmla="*/ 797474 w 6379790"/>
              <a:gd name="connsiteY50" fmla="*/ 1595756 h 5586731"/>
              <a:gd name="connsiteX51" fmla="*/ 797474 w 6379790"/>
              <a:gd name="connsiteY51" fmla="*/ 797565 h 5586731"/>
              <a:gd name="connsiteX52" fmla="*/ 1594948 w 6379790"/>
              <a:gd name="connsiteY52" fmla="*/ 797565 h 5586731"/>
              <a:gd name="connsiteX53" fmla="*/ 1594948 w 6379790"/>
              <a:gd name="connsiteY53" fmla="*/ 1595756 h 5586731"/>
              <a:gd name="connsiteX54" fmla="*/ 2392421 w 6379790"/>
              <a:gd name="connsiteY54" fmla="*/ 1595756 h 5586731"/>
              <a:gd name="connsiteX55" fmla="*/ 2392421 w 6379790"/>
              <a:gd name="connsiteY55" fmla="*/ 797565 h 5586731"/>
              <a:gd name="connsiteX56" fmla="*/ 1594948 w 6379790"/>
              <a:gd name="connsiteY56" fmla="*/ 797565 h 5586731"/>
              <a:gd name="connsiteX57" fmla="*/ 0 w 6379790"/>
              <a:gd name="connsiteY57" fmla="*/ 0 h 5586731"/>
              <a:gd name="connsiteX58" fmla="*/ 797474 w 6379790"/>
              <a:gd name="connsiteY58" fmla="*/ 0 h 5586731"/>
              <a:gd name="connsiteX59" fmla="*/ 797474 w 6379790"/>
              <a:gd name="connsiteY59" fmla="*/ 797565 h 5586731"/>
              <a:gd name="connsiteX60" fmla="*/ 0 w 6379790"/>
              <a:gd name="connsiteY60" fmla="*/ 797565 h 55867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</a:cxnLst>
            <a:rect l="l" t="t" r="r" b="b"/>
            <a:pathLst>
              <a:path w="6379790" h="5586731">
                <a:moveTo>
                  <a:pt x="0" y="4788536"/>
                </a:moveTo>
                <a:lnTo>
                  <a:pt x="797474" y="4788536"/>
                </a:lnTo>
                <a:lnTo>
                  <a:pt x="797474" y="5586731"/>
                </a:lnTo>
                <a:lnTo>
                  <a:pt x="0" y="5586731"/>
                </a:lnTo>
                <a:close/>
                <a:moveTo>
                  <a:pt x="2392422" y="3990341"/>
                </a:moveTo>
                <a:lnTo>
                  <a:pt x="2392422" y="4788536"/>
                </a:lnTo>
                <a:lnTo>
                  <a:pt x="3189895" y="4788536"/>
                </a:lnTo>
                <a:lnTo>
                  <a:pt x="3189895" y="3990341"/>
                </a:lnTo>
                <a:close/>
                <a:moveTo>
                  <a:pt x="0" y="3192146"/>
                </a:moveTo>
                <a:lnTo>
                  <a:pt x="797474" y="3192146"/>
                </a:lnTo>
                <a:lnTo>
                  <a:pt x="797474" y="3990341"/>
                </a:lnTo>
                <a:lnTo>
                  <a:pt x="0" y="3990341"/>
                </a:lnTo>
                <a:close/>
                <a:moveTo>
                  <a:pt x="1594948" y="0"/>
                </a:moveTo>
                <a:lnTo>
                  <a:pt x="3189895" y="0"/>
                </a:lnTo>
                <a:lnTo>
                  <a:pt x="3189895" y="797563"/>
                </a:lnTo>
                <a:lnTo>
                  <a:pt x="3987369" y="797563"/>
                </a:lnTo>
                <a:lnTo>
                  <a:pt x="3987369" y="0"/>
                </a:lnTo>
                <a:lnTo>
                  <a:pt x="6379790" y="0"/>
                </a:lnTo>
                <a:lnTo>
                  <a:pt x="6379790" y="797561"/>
                </a:lnTo>
                <a:lnTo>
                  <a:pt x="6379790" y="797562"/>
                </a:lnTo>
                <a:lnTo>
                  <a:pt x="6379790" y="1595756"/>
                </a:lnTo>
                <a:lnTo>
                  <a:pt x="5582317" y="1595756"/>
                </a:lnTo>
                <a:lnTo>
                  <a:pt x="5582317" y="2393951"/>
                </a:lnTo>
                <a:lnTo>
                  <a:pt x="6379790" y="2393951"/>
                </a:lnTo>
                <a:lnTo>
                  <a:pt x="6379790" y="3192146"/>
                </a:lnTo>
                <a:lnTo>
                  <a:pt x="6379790" y="3990341"/>
                </a:lnTo>
                <a:lnTo>
                  <a:pt x="6379790" y="4788536"/>
                </a:lnTo>
                <a:lnTo>
                  <a:pt x="6379790" y="5586731"/>
                </a:lnTo>
                <a:lnTo>
                  <a:pt x="5582316" y="5586731"/>
                </a:lnTo>
                <a:lnTo>
                  <a:pt x="5582316" y="4788536"/>
                </a:lnTo>
                <a:lnTo>
                  <a:pt x="4784843" y="4788536"/>
                </a:lnTo>
                <a:lnTo>
                  <a:pt x="4784843" y="5586731"/>
                </a:lnTo>
                <a:lnTo>
                  <a:pt x="3987369" y="5586731"/>
                </a:lnTo>
                <a:lnTo>
                  <a:pt x="3189895" y="5586731"/>
                </a:lnTo>
                <a:lnTo>
                  <a:pt x="2392422" y="5586731"/>
                </a:lnTo>
                <a:lnTo>
                  <a:pt x="2392421" y="5586731"/>
                </a:lnTo>
                <a:lnTo>
                  <a:pt x="1594948" y="5586731"/>
                </a:lnTo>
                <a:lnTo>
                  <a:pt x="1594948" y="4788536"/>
                </a:lnTo>
                <a:lnTo>
                  <a:pt x="797474" y="4788536"/>
                </a:lnTo>
                <a:lnTo>
                  <a:pt x="797474" y="3990341"/>
                </a:lnTo>
                <a:lnTo>
                  <a:pt x="1594948" y="3990341"/>
                </a:lnTo>
                <a:lnTo>
                  <a:pt x="1594948" y="3192146"/>
                </a:lnTo>
                <a:lnTo>
                  <a:pt x="2392421" y="3192146"/>
                </a:lnTo>
                <a:lnTo>
                  <a:pt x="2392421" y="2393951"/>
                </a:lnTo>
                <a:lnTo>
                  <a:pt x="1594948" y="2393951"/>
                </a:lnTo>
                <a:lnTo>
                  <a:pt x="1594948" y="3192146"/>
                </a:lnTo>
                <a:lnTo>
                  <a:pt x="797474" y="3192146"/>
                </a:lnTo>
                <a:lnTo>
                  <a:pt x="797474" y="2393951"/>
                </a:lnTo>
                <a:lnTo>
                  <a:pt x="0" y="2393951"/>
                </a:lnTo>
                <a:lnTo>
                  <a:pt x="0" y="1595756"/>
                </a:lnTo>
                <a:lnTo>
                  <a:pt x="797474" y="1595756"/>
                </a:lnTo>
                <a:lnTo>
                  <a:pt x="797474" y="797565"/>
                </a:lnTo>
                <a:lnTo>
                  <a:pt x="1594948" y="797565"/>
                </a:lnTo>
                <a:lnTo>
                  <a:pt x="1594948" y="1595756"/>
                </a:lnTo>
                <a:lnTo>
                  <a:pt x="2392421" y="1595756"/>
                </a:lnTo>
                <a:lnTo>
                  <a:pt x="2392421" y="797565"/>
                </a:lnTo>
                <a:lnTo>
                  <a:pt x="1594948" y="797565"/>
                </a:lnTo>
                <a:close/>
                <a:moveTo>
                  <a:pt x="0" y="0"/>
                </a:moveTo>
                <a:lnTo>
                  <a:pt x="797474" y="0"/>
                </a:lnTo>
                <a:lnTo>
                  <a:pt x="797474" y="797565"/>
                </a:lnTo>
                <a:lnTo>
                  <a:pt x="0" y="79756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altLang="ko-KR" dirty="0"/>
              <a:t>Place Your Picture Her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40556206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40" userDrawn="1">
          <p15:clr>
            <a:srgbClr val="FBAE40"/>
          </p15:clr>
        </p15:guide>
        <p15:guide id="2" pos="2560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8_Images &amp; Conten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직사각형 7">
            <a:extLst>
              <a:ext uri="{FF2B5EF4-FFF2-40B4-BE49-F238E27FC236}">
                <a16:creationId xmlns:a16="http://schemas.microsoft.com/office/drawing/2014/main" id="{31D701F7-6536-4EA0-BC87-9BB13963D926}"/>
              </a:ext>
            </a:extLst>
          </p:cNvPr>
          <p:cNvSpPr/>
          <p:nvPr userDrawn="1"/>
        </p:nvSpPr>
        <p:spPr>
          <a:xfrm>
            <a:off x="1" y="2362200"/>
            <a:ext cx="12191999" cy="2133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0BB1D46-BAD4-4238-B821-E5C51676C584}"/>
              </a:ext>
            </a:extLst>
          </p:cNvPr>
          <p:cNvSpPr>
            <a:spLocks noGrp="1"/>
          </p:cNvSpPr>
          <p:nvPr>
            <p:ph type="pic" sz="quarter" idx="65" hasCustomPrompt="1"/>
          </p:nvPr>
        </p:nvSpPr>
        <p:spPr>
          <a:xfrm>
            <a:off x="5534030" y="3"/>
            <a:ext cx="6657973" cy="6857999"/>
          </a:xfrm>
          <a:custGeom>
            <a:avLst/>
            <a:gdLst>
              <a:gd name="connsiteX0" fmla="*/ 3543299 w 9986960"/>
              <a:gd name="connsiteY0" fmla="*/ 0 h 10286999"/>
              <a:gd name="connsiteX1" fmla="*/ 9986960 w 9986960"/>
              <a:gd name="connsiteY1" fmla="*/ 0 h 10286999"/>
              <a:gd name="connsiteX2" fmla="*/ 9986960 w 9986960"/>
              <a:gd name="connsiteY2" fmla="*/ 1526 h 10286999"/>
              <a:gd name="connsiteX3" fmla="*/ 6444712 w 9986960"/>
              <a:gd name="connsiteY3" fmla="*/ 5157796 h 10286999"/>
              <a:gd name="connsiteX4" fmla="*/ 9986958 w 9986960"/>
              <a:gd name="connsiteY4" fmla="*/ 10285473 h 10286999"/>
              <a:gd name="connsiteX5" fmla="*/ 9986958 w 9986960"/>
              <a:gd name="connsiteY5" fmla="*/ 10286999 h 10286999"/>
              <a:gd name="connsiteX6" fmla="*/ 3543297 w 9986960"/>
              <a:gd name="connsiteY6" fmla="*/ 10286999 h 10286999"/>
              <a:gd name="connsiteX7" fmla="*/ 0 w 9986960"/>
              <a:gd name="connsiteY7" fmla="*/ 5157799 h 10286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986960" h="10286999">
                <a:moveTo>
                  <a:pt x="3543299" y="0"/>
                </a:moveTo>
                <a:lnTo>
                  <a:pt x="9986960" y="0"/>
                </a:lnTo>
                <a:lnTo>
                  <a:pt x="9986960" y="1526"/>
                </a:lnTo>
                <a:lnTo>
                  <a:pt x="6444712" y="5157796"/>
                </a:lnTo>
                <a:lnTo>
                  <a:pt x="9986958" y="10285473"/>
                </a:lnTo>
                <a:lnTo>
                  <a:pt x="9986958" y="10286999"/>
                </a:lnTo>
                <a:lnTo>
                  <a:pt x="3543297" y="10286999"/>
                </a:lnTo>
                <a:lnTo>
                  <a:pt x="0" y="515779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altLang="ko-KR" dirty="0"/>
              <a:t>Place Your Picture Her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5698706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6_Images &amp;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그림 개체 틀 3">
            <a:extLst>
              <a:ext uri="{FF2B5EF4-FFF2-40B4-BE49-F238E27FC236}">
                <a16:creationId xmlns:a16="http://schemas.microsoft.com/office/drawing/2014/main" id="{89478DC5-F7B1-4722-A7D4-1EAFA890CD3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637014" y="0"/>
            <a:ext cx="7554989" cy="6858000"/>
          </a:xfrm>
          <a:custGeom>
            <a:avLst/>
            <a:gdLst>
              <a:gd name="connsiteX0" fmla="*/ 0 w 7554989"/>
              <a:gd name="connsiteY0" fmla="*/ 0 h 6858000"/>
              <a:gd name="connsiteX1" fmla="*/ 7554989 w 7554989"/>
              <a:gd name="connsiteY1" fmla="*/ 0 h 6858000"/>
              <a:gd name="connsiteX2" fmla="*/ 7554989 w 7554989"/>
              <a:gd name="connsiteY2" fmla="*/ 6858000 h 6858000"/>
              <a:gd name="connsiteX3" fmla="*/ 6857999 w 7554989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554989" h="6858000">
                <a:moveTo>
                  <a:pt x="0" y="0"/>
                </a:moveTo>
                <a:lnTo>
                  <a:pt x="7554989" y="0"/>
                </a:lnTo>
                <a:lnTo>
                  <a:pt x="7554989" y="6858000"/>
                </a:lnTo>
                <a:lnTo>
                  <a:pt x="6857999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effectLst/>
        </p:spPr>
        <p:txBody>
          <a:bodyPr wrap="square" anchor="ctr">
            <a:noAutofit/>
          </a:bodyPr>
          <a:lstStyle>
            <a:lvl1pPr marL="0" marR="0" indent="0" algn="ctr" defTabSz="914446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/>
            </a:lvl1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94311504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Images &amp;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그림 개체 틀 3">
            <a:extLst>
              <a:ext uri="{FF2B5EF4-FFF2-40B4-BE49-F238E27FC236}">
                <a16:creationId xmlns:a16="http://schemas.microsoft.com/office/drawing/2014/main" id="{9C09E7B9-ECB5-4564-A54A-1AE75A669D6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" y="0"/>
            <a:ext cx="12192000" cy="3429000"/>
          </a:xfrm>
          <a:custGeom>
            <a:avLst/>
            <a:gdLst>
              <a:gd name="connsiteX0" fmla="*/ 6095999 w 12192000"/>
              <a:gd name="connsiteY0" fmla="*/ 1233270 h 3429000"/>
              <a:gd name="connsiteX1" fmla="*/ 7360415 w 12192000"/>
              <a:gd name="connsiteY1" fmla="*/ 3429000 h 3429000"/>
              <a:gd name="connsiteX2" fmla="*/ 4831583 w 12192000"/>
              <a:gd name="connsiteY2" fmla="*/ 3429000 h 3429000"/>
              <a:gd name="connsiteX3" fmla="*/ 0 w 12192000"/>
              <a:gd name="connsiteY3" fmla="*/ 0 h 3429000"/>
              <a:gd name="connsiteX4" fmla="*/ 12192000 w 12192000"/>
              <a:gd name="connsiteY4" fmla="*/ 0 h 3429000"/>
              <a:gd name="connsiteX5" fmla="*/ 12192000 w 12192000"/>
              <a:gd name="connsiteY5" fmla="*/ 3429000 h 3429000"/>
              <a:gd name="connsiteX6" fmla="*/ 7473940 w 12192000"/>
              <a:gd name="connsiteY6" fmla="*/ 3429000 h 3429000"/>
              <a:gd name="connsiteX7" fmla="*/ 6096000 w 12192000"/>
              <a:gd name="connsiteY7" fmla="*/ 1053241 h 3429000"/>
              <a:gd name="connsiteX8" fmla="*/ 4718060 w 12192000"/>
              <a:gd name="connsiteY8" fmla="*/ 3429000 h 3429000"/>
              <a:gd name="connsiteX9" fmla="*/ 0 w 12192000"/>
              <a:gd name="connsiteY9" fmla="*/ 3429000 h 342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2000" h="3429000">
                <a:moveTo>
                  <a:pt x="6095999" y="1233270"/>
                </a:moveTo>
                <a:lnTo>
                  <a:pt x="7360415" y="3429000"/>
                </a:lnTo>
                <a:lnTo>
                  <a:pt x="4831583" y="34290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3429000"/>
                </a:lnTo>
                <a:lnTo>
                  <a:pt x="7473940" y="3429000"/>
                </a:lnTo>
                <a:lnTo>
                  <a:pt x="6096000" y="1053241"/>
                </a:lnTo>
                <a:lnTo>
                  <a:pt x="4718060" y="3429000"/>
                </a:lnTo>
                <a:lnTo>
                  <a:pt x="0" y="3429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effectLst/>
        </p:spPr>
        <p:txBody>
          <a:bodyPr wrap="square" anchor="ctr">
            <a:noAutofit/>
          </a:bodyPr>
          <a:lstStyle>
            <a:lvl1pPr marL="0" marR="0" indent="0" algn="ctr" defTabSz="914446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/>
            </a:lvl1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14162225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그림 개체 틀 21">
            <a:extLst>
              <a:ext uri="{FF2B5EF4-FFF2-40B4-BE49-F238E27FC236}">
                <a16:creationId xmlns:a16="http://schemas.microsoft.com/office/drawing/2014/main" id="{5E2EB29C-531A-426D-8D92-913DE5F35C88}"/>
              </a:ext>
            </a:extLst>
          </p:cNvPr>
          <p:cNvSpPr>
            <a:spLocks noGrp="1"/>
          </p:cNvSpPr>
          <p:nvPr>
            <p:ph type="pic" idx="16" hasCustomPrompt="1"/>
          </p:nvPr>
        </p:nvSpPr>
        <p:spPr>
          <a:xfrm>
            <a:off x="452313" y="181904"/>
            <a:ext cx="6998756" cy="6471290"/>
          </a:xfrm>
          <a:custGeom>
            <a:avLst/>
            <a:gdLst>
              <a:gd name="connsiteX0" fmla="*/ 4043260 w 6998756"/>
              <a:gd name="connsiteY0" fmla="*/ 5264682 h 6471290"/>
              <a:gd name="connsiteX1" fmla="*/ 4031821 w 6998756"/>
              <a:gd name="connsiteY1" fmla="*/ 5270785 h 6471290"/>
              <a:gd name="connsiteX2" fmla="*/ 4032292 w 6998756"/>
              <a:gd name="connsiteY2" fmla="*/ 5276701 h 6471290"/>
              <a:gd name="connsiteX3" fmla="*/ 4034244 w 6998756"/>
              <a:gd name="connsiteY3" fmla="*/ 5274954 h 6471290"/>
              <a:gd name="connsiteX4" fmla="*/ 4177955 w 6998756"/>
              <a:gd name="connsiteY4" fmla="*/ 5062815 h 6471290"/>
              <a:gd name="connsiteX5" fmla="*/ 4151119 w 6998756"/>
              <a:gd name="connsiteY5" fmla="*/ 5091007 h 6471290"/>
              <a:gd name="connsiteX6" fmla="*/ 4049761 w 6998756"/>
              <a:gd name="connsiteY6" fmla="*/ 5170256 h 6471290"/>
              <a:gd name="connsiteX7" fmla="*/ 4024029 w 6998756"/>
              <a:gd name="connsiteY7" fmla="*/ 5177366 h 6471290"/>
              <a:gd name="connsiteX8" fmla="*/ 4022926 w 6998756"/>
              <a:gd name="connsiteY8" fmla="*/ 5198446 h 6471290"/>
              <a:gd name="connsiteX9" fmla="*/ 4060897 w 6998756"/>
              <a:gd name="connsiteY9" fmla="*/ 5230028 h 6471290"/>
              <a:gd name="connsiteX10" fmla="*/ 4066183 w 6998756"/>
              <a:gd name="connsiteY10" fmla="*/ 5238570 h 6471290"/>
              <a:gd name="connsiteX11" fmla="*/ 4079684 w 6998756"/>
              <a:gd name="connsiteY11" fmla="*/ 5223190 h 6471290"/>
              <a:gd name="connsiteX12" fmla="*/ 4095970 w 6998756"/>
              <a:gd name="connsiteY12" fmla="*/ 5187245 h 6471290"/>
              <a:gd name="connsiteX13" fmla="*/ 4182101 w 6998756"/>
              <a:gd name="connsiteY13" fmla="*/ 5109429 h 6471290"/>
              <a:gd name="connsiteX14" fmla="*/ 4237020 w 6998756"/>
              <a:gd name="connsiteY14" fmla="*/ 5063016 h 6471290"/>
              <a:gd name="connsiteX15" fmla="*/ 4212822 w 6998756"/>
              <a:gd name="connsiteY15" fmla="*/ 5065367 h 6471290"/>
              <a:gd name="connsiteX16" fmla="*/ 4177955 w 6998756"/>
              <a:gd name="connsiteY16" fmla="*/ 5062815 h 6471290"/>
              <a:gd name="connsiteX17" fmla="*/ 5215197 w 6998756"/>
              <a:gd name="connsiteY17" fmla="*/ 4051921 h 6471290"/>
              <a:gd name="connsiteX18" fmla="*/ 5209287 w 6998756"/>
              <a:gd name="connsiteY18" fmla="*/ 4054961 h 6471290"/>
              <a:gd name="connsiteX19" fmla="*/ 5077055 w 6998756"/>
              <a:gd name="connsiteY19" fmla="*/ 4196673 h 6471290"/>
              <a:gd name="connsiteX20" fmla="*/ 5001206 w 6998756"/>
              <a:gd name="connsiteY20" fmla="*/ 4273031 h 6471290"/>
              <a:gd name="connsiteX21" fmla="*/ 4886981 w 6998756"/>
              <a:gd name="connsiteY21" fmla="*/ 4355836 h 6471290"/>
              <a:gd name="connsiteX22" fmla="*/ 4737493 w 6998756"/>
              <a:gd name="connsiteY22" fmla="*/ 4466390 h 6471290"/>
              <a:gd name="connsiteX23" fmla="*/ 4675172 w 6998756"/>
              <a:gd name="connsiteY23" fmla="*/ 4526545 h 6471290"/>
              <a:gd name="connsiteX24" fmla="*/ 4419003 w 6998756"/>
              <a:gd name="connsiteY24" fmla="*/ 4737211 h 6471290"/>
              <a:gd name="connsiteX25" fmla="*/ 4405257 w 6998756"/>
              <a:gd name="connsiteY25" fmla="*/ 4757629 h 6471290"/>
              <a:gd name="connsiteX26" fmla="*/ 4375773 w 6998756"/>
              <a:gd name="connsiteY26" fmla="*/ 4836413 h 6471290"/>
              <a:gd name="connsiteX27" fmla="*/ 4253140 w 6998756"/>
              <a:gd name="connsiteY27" fmla="*/ 4999107 h 6471290"/>
              <a:gd name="connsiteX28" fmla="*/ 4258591 w 6998756"/>
              <a:gd name="connsiteY28" fmla="*/ 5043850 h 6471290"/>
              <a:gd name="connsiteX29" fmla="*/ 4255556 w 6998756"/>
              <a:gd name="connsiteY29" fmla="*/ 5047350 h 6471290"/>
              <a:gd name="connsiteX30" fmla="*/ 4264823 w 6998756"/>
              <a:gd name="connsiteY30" fmla="*/ 5039519 h 6471290"/>
              <a:gd name="connsiteX31" fmla="*/ 4376726 w 6998756"/>
              <a:gd name="connsiteY31" fmla="*/ 4911330 h 6471290"/>
              <a:gd name="connsiteX32" fmla="*/ 4495294 w 6998756"/>
              <a:gd name="connsiteY32" fmla="*/ 4847795 h 6471290"/>
              <a:gd name="connsiteX33" fmla="*/ 4572211 w 6998756"/>
              <a:gd name="connsiteY33" fmla="*/ 4710384 h 6471290"/>
              <a:gd name="connsiteX34" fmla="*/ 4769783 w 6998756"/>
              <a:gd name="connsiteY34" fmla="*/ 4525049 h 6471290"/>
              <a:gd name="connsiteX35" fmla="*/ 4934059 w 6998756"/>
              <a:gd name="connsiteY35" fmla="*/ 4328278 h 6471290"/>
              <a:gd name="connsiteX36" fmla="*/ 4982961 w 6998756"/>
              <a:gd name="connsiteY36" fmla="*/ 4337626 h 6471290"/>
              <a:gd name="connsiteX37" fmla="*/ 5112069 w 6998756"/>
              <a:gd name="connsiteY37" fmla="*/ 4191493 h 6471290"/>
              <a:gd name="connsiteX38" fmla="*/ 1421611 w 6998756"/>
              <a:gd name="connsiteY38" fmla="*/ 2211251 h 6471290"/>
              <a:gd name="connsiteX39" fmla="*/ 1365366 w 6998756"/>
              <a:gd name="connsiteY39" fmla="*/ 2295734 h 6471290"/>
              <a:gd name="connsiteX40" fmla="*/ 1342943 w 6998756"/>
              <a:gd name="connsiteY40" fmla="*/ 2329145 h 6471290"/>
              <a:gd name="connsiteX41" fmla="*/ 1346081 w 6998756"/>
              <a:gd name="connsiteY41" fmla="*/ 2326178 h 6471290"/>
              <a:gd name="connsiteX42" fmla="*/ 1416062 w 6998756"/>
              <a:gd name="connsiteY42" fmla="*/ 2254923 h 6471290"/>
              <a:gd name="connsiteX43" fmla="*/ 1424962 w 6998756"/>
              <a:gd name="connsiteY43" fmla="*/ 2226134 h 6471290"/>
              <a:gd name="connsiteX44" fmla="*/ 1507160 w 6998756"/>
              <a:gd name="connsiteY44" fmla="*/ 2090249 h 6471290"/>
              <a:gd name="connsiteX45" fmla="*/ 1456732 w 6998756"/>
              <a:gd name="connsiteY45" fmla="*/ 2158498 h 6471290"/>
              <a:gd name="connsiteX46" fmla="*/ 1438688 w 6998756"/>
              <a:gd name="connsiteY46" fmla="*/ 2185602 h 6471290"/>
              <a:gd name="connsiteX47" fmla="*/ 1453739 w 6998756"/>
              <a:gd name="connsiteY47" fmla="*/ 2174973 h 6471290"/>
              <a:gd name="connsiteX48" fmla="*/ 1497217 w 6998756"/>
              <a:gd name="connsiteY48" fmla="*/ 2133545 h 6471290"/>
              <a:gd name="connsiteX49" fmla="*/ 1506065 w 6998756"/>
              <a:gd name="connsiteY49" fmla="*/ 2103875 h 6471290"/>
              <a:gd name="connsiteX50" fmla="*/ 2705909 w 6998756"/>
              <a:gd name="connsiteY50" fmla="*/ 892212 h 6471290"/>
              <a:gd name="connsiteX51" fmla="*/ 2531391 w 6998756"/>
              <a:gd name="connsiteY51" fmla="*/ 1067958 h 6471290"/>
              <a:gd name="connsiteX52" fmla="*/ 2527236 w 6998756"/>
              <a:gd name="connsiteY52" fmla="*/ 1071711 h 6471290"/>
              <a:gd name="connsiteX53" fmla="*/ 2540897 w 6998756"/>
              <a:gd name="connsiteY53" fmla="*/ 1082319 h 6471290"/>
              <a:gd name="connsiteX54" fmla="*/ 2608179 w 6998756"/>
              <a:gd name="connsiteY54" fmla="*/ 1057301 h 6471290"/>
              <a:gd name="connsiteX55" fmla="*/ 2608400 w 6998756"/>
              <a:gd name="connsiteY55" fmla="*/ 1053087 h 6471290"/>
              <a:gd name="connsiteX56" fmla="*/ 2661800 w 6998756"/>
              <a:gd name="connsiteY56" fmla="*/ 970335 h 6471290"/>
              <a:gd name="connsiteX57" fmla="*/ 2701077 w 6998756"/>
              <a:gd name="connsiteY57" fmla="*/ 926778 h 6471290"/>
              <a:gd name="connsiteX58" fmla="*/ 2690340 w 6998756"/>
              <a:gd name="connsiteY58" fmla="*/ 932395 h 6471290"/>
              <a:gd name="connsiteX59" fmla="*/ 2681987 w 6998756"/>
              <a:gd name="connsiteY59" fmla="*/ 941132 h 6471290"/>
              <a:gd name="connsiteX60" fmla="*/ 2692947 w 6998756"/>
              <a:gd name="connsiteY60" fmla="*/ 909186 h 6471290"/>
              <a:gd name="connsiteX61" fmla="*/ 2705909 w 6998756"/>
              <a:gd name="connsiteY61" fmla="*/ 892212 h 6471290"/>
              <a:gd name="connsiteX62" fmla="*/ 4540121 w 6998756"/>
              <a:gd name="connsiteY62" fmla="*/ 0 h 6471290"/>
              <a:gd name="connsiteX63" fmla="*/ 4614250 w 6998756"/>
              <a:gd name="connsiteY63" fmla="*/ 118030 h 6471290"/>
              <a:gd name="connsiteX64" fmla="*/ 4522491 w 6998756"/>
              <a:gd name="connsiteY64" fmla="*/ 417627 h 6471290"/>
              <a:gd name="connsiteX65" fmla="*/ 4470146 w 6998756"/>
              <a:gd name="connsiteY65" fmla="*/ 448710 h 6471290"/>
              <a:gd name="connsiteX66" fmla="*/ 4460369 w 6998756"/>
              <a:gd name="connsiteY66" fmla="*/ 393237 h 6471290"/>
              <a:gd name="connsiteX67" fmla="*/ 4471888 w 6998756"/>
              <a:gd name="connsiteY67" fmla="*/ 334651 h 6471290"/>
              <a:gd name="connsiteX68" fmla="*/ 4346608 w 6998756"/>
              <a:gd name="connsiteY68" fmla="*/ 547938 h 6471290"/>
              <a:gd name="connsiteX69" fmla="*/ 4409589 w 6998756"/>
              <a:gd name="connsiteY69" fmla="*/ 475135 h 6471290"/>
              <a:gd name="connsiteX70" fmla="*/ 4439977 w 6998756"/>
              <a:gd name="connsiteY70" fmla="*/ 459814 h 6471290"/>
              <a:gd name="connsiteX71" fmla="*/ 4472154 w 6998756"/>
              <a:gd name="connsiteY71" fmla="*/ 491091 h 6471290"/>
              <a:gd name="connsiteX72" fmla="*/ 4449975 w 6998756"/>
              <a:gd name="connsiteY72" fmla="*/ 511071 h 6471290"/>
              <a:gd name="connsiteX73" fmla="*/ 4431129 w 6998756"/>
              <a:gd name="connsiteY73" fmla="*/ 548132 h 6471290"/>
              <a:gd name="connsiteX74" fmla="*/ 4430269 w 6998756"/>
              <a:gd name="connsiteY74" fmla="*/ 645326 h 6471290"/>
              <a:gd name="connsiteX75" fmla="*/ 4395666 w 6998756"/>
              <a:gd name="connsiteY75" fmla="*/ 660427 h 6471290"/>
              <a:gd name="connsiteX76" fmla="*/ 4373488 w 6998756"/>
              <a:gd name="connsiteY76" fmla="*/ 680406 h 6471290"/>
              <a:gd name="connsiteX77" fmla="*/ 4414559 w 6998756"/>
              <a:gd name="connsiteY77" fmla="*/ 784020 h 6471290"/>
              <a:gd name="connsiteX78" fmla="*/ 4422767 w 6998756"/>
              <a:gd name="connsiteY78" fmla="*/ 788678 h 6471290"/>
              <a:gd name="connsiteX79" fmla="*/ 4429411 w 6998756"/>
              <a:gd name="connsiteY79" fmla="*/ 742520 h 6471290"/>
              <a:gd name="connsiteX80" fmla="*/ 4451809 w 6998756"/>
              <a:gd name="connsiteY80" fmla="*/ 718327 h 6471290"/>
              <a:gd name="connsiteX81" fmla="*/ 4467567 w 6998756"/>
              <a:gd name="connsiteY81" fmla="*/ 740289 h 6471290"/>
              <a:gd name="connsiteX82" fmla="*/ 4442321 w 6998756"/>
              <a:gd name="connsiteY82" fmla="*/ 899623 h 6471290"/>
              <a:gd name="connsiteX83" fmla="*/ 4556766 w 6998756"/>
              <a:gd name="connsiteY83" fmla="*/ 812602 h 6471290"/>
              <a:gd name="connsiteX84" fmla="*/ 4566521 w 6998756"/>
              <a:gd name="connsiteY84" fmla="*/ 787747 h 6471290"/>
              <a:gd name="connsiteX85" fmla="*/ 4618624 w 6998756"/>
              <a:gd name="connsiteY85" fmla="*/ 680552 h 6471290"/>
              <a:gd name="connsiteX86" fmla="*/ 4803157 w 6998756"/>
              <a:gd name="connsiteY86" fmla="*/ 546465 h 6471290"/>
              <a:gd name="connsiteX87" fmla="*/ 4865500 w 6998756"/>
              <a:gd name="connsiteY87" fmla="*/ 566639 h 6471290"/>
              <a:gd name="connsiteX88" fmla="*/ 4903482 w 6998756"/>
              <a:gd name="connsiteY88" fmla="*/ 729279 h 6471290"/>
              <a:gd name="connsiteX89" fmla="*/ 4937665 w 6998756"/>
              <a:gd name="connsiteY89" fmla="*/ 802942 h 6471290"/>
              <a:gd name="connsiteX90" fmla="*/ 4940801 w 6998756"/>
              <a:gd name="connsiteY90" fmla="*/ 904573 h 6471290"/>
              <a:gd name="connsiteX91" fmla="*/ 4928178 w 6998756"/>
              <a:gd name="connsiteY91" fmla="*/ 984237 h 6471290"/>
              <a:gd name="connsiteX92" fmla="*/ 5017798 w 6998756"/>
              <a:gd name="connsiteY92" fmla="*/ 967790 h 6471290"/>
              <a:gd name="connsiteX93" fmla="*/ 5223627 w 6998756"/>
              <a:gd name="connsiteY93" fmla="*/ 830590 h 6471290"/>
              <a:gd name="connsiteX94" fmla="*/ 5273324 w 6998756"/>
              <a:gd name="connsiteY94" fmla="*/ 850102 h 6471290"/>
              <a:gd name="connsiteX95" fmla="*/ 5288860 w 6998756"/>
              <a:gd name="connsiteY95" fmla="*/ 876281 h 6471290"/>
              <a:gd name="connsiteX96" fmla="*/ 5291114 w 6998756"/>
              <a:gd name="connsiteY96" fmla="*/ 994777 h 6471290"/>
              <a:gd name="connsiteX97" fmla="*/ 5099915 w 6998756"/>
              <a:gd name="connsiteY97" fmla="*/ 1094692 h 6471290"/>
              <a:gd name="connsiteX98" fmla="*/ 5072638 w 6998756"/>
              <a:gd name="connsiteY98" fmla="*/ 1131316 h 6471290"/>
              <a:gd name="connsiteX99" fmla="*/ 4999438 w 6998756"/>
              <a:gd name="connsiteY99" fmla="*/ 1157078 h 6471290"/>
              <a:gd name="connsiteX100" fmla="*/ 4965718 w 6998756"/>
              <a:gd name="connsiteY100" fmla="*/ 1155314 h 6471290"/>
              <a:gd name="connsiteX101" fmla="*/ 4968387 w 6998756"/>
              <a:gd name="connsiteY101" fmla="*/ 1185048 h 6471290"/>
              <a:gd name="connsiteX102" fmla="*/ 4962187 w 6998756"/>
              <a:gd name="connsiteY102" fmla="*/ 1222775 h 6471290"/>
              <a:gd name="connsiteX103" fmla="*/ 4968630 w 6998756"/>
              <a:gd name="connsiteY103" fmla="*/ 1261160 h 6471290"/>
              <a:gd name="connsiteX104" fmla="*/ 4897659 w 6998756"/>
              <a:gd name="connsiteY104" fmla="*/ 1325090 h 6471290"/>
              <a:gd name="connsiteX105" fmla="*/ 4890576 w 6998756"/>
              <a:gd name="connsiteY105" fmla="*/ 1379681 h 6471290"/>
              <a:gd name="connsiteX106" fmla="*/ 4970001 w 6998756"/>
              <a:gd name="connsiteY106" fmla="*/ 1396521 h 6471290"/>
              <a:gd name="connsiteX107" fmla="*/ 5066042 w 6998756"/>
              <a:gd name="connsiteY107" fmla="*/ 1338131 h 6471290"/>
              <a:gd name="connsiteX108" fmla="*/ 5203548 w 6998756"/>
              <a:gd name="connsiteY108" fmla="*/ 1214266 h 6471290"/>
              <a:gd name="connsiteX109" fmla="*/ 5384308 w 6998756"/>
              <a:gd name="connsiteY109" fmla="*/ 1071528 h 6471290"/>
              <a:gd name="connsiteX110" fmla="*/ 5422686 w 6998756"/>
              <a:gd name="connsiteY110" fmla="*/ 1065079 h 6471290"/>
              <a:gd name="connsiteX111" fmla="*/ 5458392 w 6998756"/>
              <a:gd name="connsiteY111" fmla="*/ 1028897 h 6471290"/>
              <a:gd name="connsiteX112" fmla="*/ 5476575 w 6998756"/>
              <a:gd name="connsiteY112" fmla="*/ 1004483 h 6471290"/>
              <a:gd name="connsiteX113" fmla="*/ 5665325 w 6998756"/>
              <a:gd name="connsiteY113" fmla="*/ 870617 h 6471290"/>
              <a:gd name="connsiteX114" fmla="*/ 5929480 w 6998756"/>
              <a:gd name="connsiteY114" fmla="*/ 668826 h 6471290"/>
              <a:gd name="connsiteX115" fmla="*/ 5977391 w 6998756"/>
              <a:gd name="connsiteY115" fmla="*/ 641737 h 6471290"/>
              <a:gd name="connsiteX116" fmla="*/ 6012458 w 6998756"/>
              <a:gd name="connsiteY116" fmla="*/ 698534 h 6471290"/>
              <a:gd name="connsiteX117" fmla="*/ 6022477 w 6998756"/>
              <a:gd name="connsiteY117" fmla="*/ 830120 h 6471290"/>
              <a:gd name="connsiteX118" fmla="*/ 5954177 w 6998756"/>
              <a:gd name="connsiteY118" fmla="*/ 923784 h 6471290"/>
              <a:gd name="connsiteX119" fmla="*/ 5919354 w 6998756"/>
              <a:gd name="connsiteY119" fmla="*/ 943099 h 6471290"/>
              <a:gd name="connsiteX120" fmla="*/ 5827969 w 6998756"/>
              <a:gd name="connsiteY120" fmla="*/ 993278 h 6471290"/>
              <a:gd name="connsiteX121" fmla="*/ 5820886 w 6998756"/>
              <a:gd name="connsiteY121" fmla="*/ 1047868 h 6471290"/>
              <a:gd name="connsiteX122" fmla="*/ 5823556 w 6998756"/>
              <a:gd name="connsiteY122" fmla="*/ 1077603 h 6471290"/>
              <a:gd name="connsiteX123" fmla="*/ 5790056 w 6998756"/>
              <a:gd name="connsiteY123" fmla="*/ 1071622 h 6471290"/>
              <a:gd name="connsiteX124" fmla="*/ 5725727 w 6998756"/>
              <a:gd name="connsiteY124" fmla="*/ 1089395 h 6471290"/>
              <a:gd name="connsiteX125" fmla="*/ 5575820 w 6998756"/>
              <a:gd name="connsiteY125" fmla="*/ 1288707 h 6471290"/>
              <a:gd name="connsiteX126" fmla="*/ 5520164 w 6998756"/>
              <a:gd name="connsiteY126" fmla="*/ 1383033 h 6471290"/>
              <a:gd name="connsiteX127" fmla="*/ 5527489 w 6998756"/>
              <a:gd name="connsiteY127" fmla="*/ 1404557 h 6471290"/>
              <a:gd name="connsiteX128" fmla="*/ 5577629 w 6998756"/>
              <a:gd name="connsiteY128" fmla="*/ 1415637 h 6471290"/>
              <a:gd name="connsiteX129" fmla="*/ 5600251 w 6998756"/>
              <a:gd name="connsiteY129" fmla="*/ 1387225 h 6471290"/>
              <a:gd name="connsiteX130" fmla="*/ 5628408 w 6998756"/>
              <a:gd name="connsiteY130" fmla="*/ 1333739 h 6471290"/>
              <a:gd name="connsiteX131" fmla="*/ 5808728 w 6998756"/>
              <a:gd name="connsiteY131" fmla="*/ 1199431 h 6471290"/>
              <a:gd name="connsiteX132" fmla="*/ 5855534 w 6998756"/>
              <a:gd name="connsiteY132" fmla="*/ 1193424 h 6471290"/>
              <a:gd name="connsiteX133" fmla="*/ 5932730 w 6998756"/>
              <a:gd name="connsiteY133" fmla="*/ 1172099 h 6471290"/>
              <a:gd name="connsiteX134" fmla="*/ 6029455 w 6998756"/>
              <a:gd name="connsiteY134" fmla="*/ 1181389 h 6471290"/>
              <a:gd name="connsiteX135" fmla="*/ 6058961 w 6998756"/>
              <a:gd name="connsiteY135" fmla="*/ 1182933 h 6471290"/>
              <a:gd name="connsiteX136" fmla="*/ 6186713 w 6998756"/>
              <a:gd name="connsiteY136" fmla="*/ 1083924 h 6471290"/>
              <a:gd name="connsiteX137" fmla="*/ 6438885 w 6998756"/>
              <a:gd name="connsiteY137" fmla="*/ 868823 h 6471290"/>
              <a:gd name="connsiteX138" fmla="*/ 6623641 w 6998756"/>
              <a:gd name="connsiteY138" fmla="*/ 730519 h 6471290"/>
              <a:gd name="connsiteX139" fmla="*/ 6660010 w 6998756"/>
              <a:gd name="connsiteY139" fmla="*/ 681689 h 6471290"/>
              <a:gd name="connsiteX140" fmla="*/ 6725441 w 6998756"/>
              <a:gd name="connsiteY140" fmla="*/ 642837 h 6471290"/>
              <a:gd name="connsiteX141" fmla="*/ 6751613 w 6998756"/>
              <a:gd name="connsiteY141" fmla="*/ 627295 h 6471290"/>
              <a:gd name="connsiteX142" fmla="*/ 6811706 w 6998756"/>
              <a:gd name="connsiteY142" fmla="*/ 528973 h 6471290"/>
              <a:gd name="connsiteX143" fmla="*/ 6877801 w 6998756"/>
              <a:gd name="connsiteY143" fmla="*/ 477473 h 6471290"/>
              <a:gd name="connsiteX144" fmla="*/ 6939481 w 6998756"/>
              <a:gd name="connsiteY144" fmla="*/ 510294 h 6471290"/>
              <a:gd name="connsiteX145" fmla="*/ 6950581 w 6998756"/>
              <a:gd name="connsiteY145" fmla="*/ 540469 h 6471290"/>
              <a:gd name="connsiteX146" fmla="*/ 6983000 w 6998756"/>
              <a:gd name="connsiteY146" fmla="*/ 647858 h 6471290"/>
              <a:gd name="connsiteX147" fmla="*/ 6803806 w 6998756"/>
              <a:gd name="connsiteY147" fmla="*/ 841415 h 6471290"/>
              <a:gd name="connsiteX148" fmla="*/ 6750800 w 6998756"/>
              <a:gd name="connsiteY148" fmla="*/ 885146 h 6471290"/>
              <a:gd name="connsiteX149" fmla="*/ 6556314 w 6998756"/>
              <a:gd name="connsiteY149" fmla="*/ 1128634 h 6471290"/>
              <a:gd name="connsiteX150" fmla="*/ 6498231 w 6998756"/>
              <a:gd name="connsiteY150" fmla="*/ 1269339 h 6471290"/>
              <a:gd name="connsiteX151" fmla="*/ 6469852 w 6998756"/>
              <a:gd name="connsiteY151" fmla="*/ 1327041 h 6471290"/>
              <a:gd name="connsiteX152" fmla="*/ 6464533 w 6998756"/>
              <a:gd name="connsiteY152" fmla="*/ 1347902 h 6471290"/>
              <a:gd name="connsiteX153" fmla="*/ 6485609 w 6998756"/>
              <a:gd name="connsiteY153" fmla="*/ 1349005 h 6471290"/>
              <a:gd name="connsiteX154" fmla="*/ 6644411 w 6998756"/>
              <a:gd name="connsiteY154" fmla="*/ 1222027 h 6471290"/>
              <a:gd name="connsiteX155" fmla="*/ 6838236 w 6998756"/>
              <a:gd name="connsiteY155" fmla="*/ 991187 h 6471290"/>
              <a:gd name="connsiteX156" fmla="*/ 6847327 w 6998756"/>
              <a:gd name="connsiteY156" fmla="*/ 978980 h 6471290"/>
              <a:gd name="connsiteX157" fmla="*/ 6916313 w 6998756"/>
              <a:gd name="connsiteY157" fmla="*/ 952996 h 6471290"/>
              <a:gd name="connsiteX158" fmla="*/ 6916557 w 6998756"/>
              <a:gd name="connsiteY158" fmla="*/ 1029108 h 6471290"/>
              <a:gd name="connsiteX159" fmla="*/ 6852471 w 6998756"/>
              <a:gd name="connsiteY159" fmla="*/ 1122993 h 6471290"/>
              <a:gd name="connsiteX160" fmla="*/ 6693469 w 6998756"/>
              <a:gd name="connsiteY160" fmla="*/ 1334515 h 6471290"/>
              <a:gd name="connsiteX161" fmla="*/ 6685063 w 6998756"/>
              <a:gd name="connsiteY161" fmla="*/ 1414403 h 6471290"/>
              <a:gd name="connsiteX162" fmla="*/ 6719467 w 6998756"/>
              <a:gd name="connsiteY162" fmla="*/ 1483848 h 6471290"/>
              <a:gd name="connsiteX163" fmla="*/ 6725030 w 6998756"/>
              <a:gd name="connsiteY163" fmla="*/ 1539101 h 6471290"/>
              <a:gd name="connsiteX164" fmla="*/ 6686430 w 6998756"/>
              <a:gd name="connsiteY164" fmla="*/ 1549764 h 6471290"/>
              <a:gd name="connsiteX165" fmla="*/ 6648717 w 6998756"/>
              <a:gd name="connsiteY165" fmla="*/ 1543562 h 6471290"/>
              <a:gd name="connsiteX166" fmla="*/ 6656706 w 6998756"/>
              <a:gd name="connsiteY166" fmla="*/ 1552435 h 6471290"/>
              <a:gd name="connsiteX167" fmla="*/ 6642098 w 6998756"/>
              <a:gd name="connsiteY167" fmla="*/ 1670048 h 6471290"/>
              <a:gd name="connsiteX168" fmla="*/ 6577326 w 6998756"/>
              <a:gd name="connsiteY168" fmla="*/ 1696254 h 6471290"/>
              <a:gd name="connsiteX169" fmla="*/ 6544095 w 6998756"/>
              <a:gd name="connsiteY169" fmla="*/ 1846714 h 6471290"/>
              <a:gd name="connsiteX170" fmla="*/ 6537011 w 6998756"/>
              <a:gd name="connsiteY170" fmla="*/ 1901303 h 6471290"/>
              <a:gd name="connsiteX171" fmla="*/ 6555879 w 6998756"/>
              <a:gd name="connsiteY171" fmla="*/ 1944567 h 6471290"/>
              <a:gd name="connsiteX172" fmla="*/ 6623078 w 6998756"/>
              <a:gd name="connsiteY172" fmla="*/ 1871985 h 6471290"/>
              <a:gd name="connsiteX173" fmla="*/ 6634154 w 6998756"/>
              <a:gd name="connsiteY173" fmla="*/ 1821831 h 6471290"/>
              <a:gd name="connsiteX174" fmla="*/ 6641457 w 6998756"/>
              <a:gd name="connsiteY174" fmla="*/ 1763026 h 6471290"/>
              <a:gd name="connsiteX175" fmla="*/ 6642561 w 6998756"/>
              <a:gd name="connsiteY175" fmla="*/ 1741943 h 6471290"/>
              <a:gd name="connsiteX176" fmla="*/ 6730196 w 6998756"/>
              <a:gd name="connsiteY176" fmla="*/ 1763441 h 6471290"/>
              <a:gd name="connsiteX177" fmla="*/ 6728210 w 6998756"/>
              <a:gd name="connsiteY177" fmla="*/ 1801388 h 6471290"/>
              <a:gd name="connsiteX178" fmla="*/ 6701837 w 6998756"/>
              <a:gd name="connsiteY178" fmla="*/ 1901474 h 6471290"/>
              <a:gd name="connsiteX179" fmla="*/ 6696741 w 6998756"/>
              <a:gd name="connsiteY179" fmla="*/ 1918119 h 6471290"/>
              <a:gd name="connsiteX180" fmla="*/ 6589424 w 6998756"/>
              <a:gd name="connsiteY180" fmla="*/ 2111206 h 6471290"/>
              <a:gd name="connsiteX181" fmla="*/ 6557714 w 6998756"/>
              <a:gd name="connsiteY181" fmla="*/ 2151823 h 6471290"/>
              <a:gd name="connsiteX182" fmla="*/ 6467011 w 6998756"/>
              <a:gd name="connsiteY182" fmla="*/ 2269684 h 6471290"/>
              <a:gd name="connsiteX183" fmla="*/ 6448386 w 6998756"/>
              <a:gd name="connsiteY183" fmla="*/ 2302532 h 6471290"/>
              <a:gd name="connsiteX184" fmla="*/ 6410695 w 6998756"/>
              <a:gd name="connsiteY184" fmla="*/ 2376658 h 6471290"/>
              <a:gd name="connsiteX185" fmla="*/ 6456420 w 6998756"/>
              <a:gd name="connsiteY185" fmla="*/ 2472061 h 6471290"/>
              <a:gd name="connsiteX186" fmla="*/ 6466440 w 6998756"/>
              <a:gd name="connsiteY186" fmla="*/ 2603647 h 6471290"/>
              <a:gd name="connsiteX187" fmla="*/ 6189907 w 6998756"/>
              <a:gd name="connsiteY187" fmla="*/ 2961216 h 6471290"/>
              <a:gd name="connsiteX188" fmla="*/ 6082567 w 6998756"/>
              <a:gd name="connsiteY188" fmla="*/ 3073977 h 6471290"/>
              <a:gd name="connsiteX189" fmla="*/ 5977654 w 6998756"/>
              <a:gd name="connsiteY189" fmla="*/ 3140358 h 6471290"/>
              <a:gd name="connsiteX190" fmla="*/ 5941728 w 6998756"/>
              <a:gd name="connsiteY190" fmla="*/ 3180757 h 6471290"/>
              <a:gd name="connsiteX191" fmla="*/ 5812234 w 6998756"/>
              <a:gd name="connsiteY191" fmla="*/ 3393823 h 6471290"/>
              <a:gd name="connsiteX192" fmla="*/ 5904080 w 6998756"/>
              <a:gd name="connsiteY192" fmla="*/ 3415541 h 6471290"/>
              <a:gd name="connsiteX193" fmla="*/ 5942679 w 6998756"/>
              <a:gd name="connsiteY193" fmla="*/ 3404878 h 6471290"/>
              <a:gd name="connsiteX194" fmla="*/ 6049112 w 6998756"/>
              <a:gd name="connsiteY194" fmla="*/ 3228653 h 6471290"/>
              <a:gd name="connsiteX195" fmla="*/ 6159785 w 6998756"/>
              <a:gd name="connsiteY195" fmla="*/ 3132978 h 6471290"/>
              <a:gd name="connsiteX196" fmla="*/ 6213234 w 6998756"/>
              <a:gd name="connsiteY196" fmla="*/ 3080816 h 6471290"/>
              <a:gd name="connsiteX197" fmla="*/ 6370445 w 6998756"/>
              <a:gd name="connsiteY197" fmla="*/ 2822695 h 6471290"/>
              <a:gd name="connsiteX198" fmla="*/ 6432104 w 6998756"/>
              <a:gd name="connsiteY198" fmla="*/ 2775188 h 6471290"/>
              <a:gd name="connsiteX199" fmla="*/ 6407522 w 6998756"/>
              <a:gd name="connsiteY199" fmla="*/ 2921874 h 6471290"/>
              <a:gd name="connsiteX200" fmla="*/ 6329489 w 6998756"/>
              <a:gd name="connsiteY200" fmla="*/ 3120722 h 6471290"/>
              <a:gd name="connsiteX201" fmla="*/ 6243225 w 6998756"/>
              <a:gd name="connsiteY201" fmla="*/ 3234583 h 6471290"/>
              <a:gd name="connsiteX202" fmla="*/ 6099959 w 6998756"/>
              <a:gd name="connsiteY202" fmla="*/ 3387741 h 6471290"/>
              <a:gd name="connsiteX203" fmla="*/ 6081996 w 6998756"/>
              <a:gd name="connsiteY203" fmla="*/ 3407941 h 6471290"/>
              <a:gd name="connsiteX204" fmla="*/ 5992399 w 6998756"/>
              <a:gd name="connsiteY204" fmla="*/ 3504717 h 6471290"/>
              <a:gd name="connsiteX205" fmla="*/ 5885943 w 6998756"/>
              <a:gd name="connsiteY205" fmla="*/ 3600612 h 6471290"/>
              <a:gd name="connsiteX206" fmla="*/ 5880626 w 6998756"/>
              <a:gd name="connsiteY206" fmla="*/ 3621474 h 6471290"/>
              <a:gd name="connsiteX207" fmla="*/ 5845802 w 6998756"/>
              <a:gd name="connsiteY207" fmla="*/ 3640788 h 6471290"/>
              <a:gd name="connsiteX208" fmla="*/ 5791004 w 6998756"/>
              <a:gd name="connsiteY208" fmla="*/ 3637920 h 6471290"/>
              <a:gd name="connsiteX209" fmla="*/ 5698297 w 6998756"/>
              <a:gd name="connsiteY209" fmla="*/ 3713397 h 6471290"/>
              <a:gd name="connsiteX210" fmla="*/ 5683886 w 6998756"/>
              <a:gd name="connsiteY210" fmla="*/ 3746465 h 6471290"/>
              <a:gd name="connsiteX211" fmla="*/ 5642861 w 6998756"/>
              <a:gd name="connsiteY211" fmla="*/ 3803509 h 6471290"/>
              <a:gd name="connsiteX212" fmla="*/ 5585639 w 6998756"/>
              <a:gd name="connsiteY212" fmla="*/ 3847018 h 6471290"/>
              <a:gd name="connsiteX213" fmla="*/ 5581668 w 6998756"/>
              <a:gd name="connsiteY213" fmla="*/ 3922911 h 6471290"/>
              <a:gd name="connsiteX214" fmla="*/ 5567258 w 6998756"/>
              <a:gd name="connsiteY214" fmla="*/ 3955979 h 6471290"/>
              <a:gd name="connsiteX215" fmla="*/ 5496065 w 6998756"/>
              <a:gd name="connsiteY215" fmla="*/ 4024123 h 6471290"/>
              <a:gd name="connsiteX216" fmla="*/ 5462345 w 6998756"/>
              <a:gd name="connsiteY216" fmla="*/ 4022359 h 6471290"/>
              <a:gd name="connsiteX217" fmla="*/ 5372922 w 6998756"/>
              <a:gd name="connsiteY217" fmla="*/ 3954263 h 6471290"/>
              <a:gd name="connsiteX218" fmla="*/ 5366641 w 6998756"/>
              <a:gd name="connsiteY218" fmla="*/ 3949724 h 6471290"/>
              <a:gd name="connsiteX219" fmla="*/ 5317779 w 6998756"/>
              <a:gd name="connsiteY219" fmla="*/ 3990916 h 6471290"/>
              <a:gd name="connsiteX220" fmla="*/ 5038128 w 6998756"/>
              <a:gd name="connsiteY220" fmla="*/ 4393804 h 6471290"/>
              <a:gd name="connsiteX221" fmla="*/ 5004831 w 6998756"/>
              <a:gd name="connsiteY221" fmla="*/ 4382369 h 6471290"/>
              <a:gd name="connsiteX222" fmla="*/ 4898795 w 6998756"/>
              <a:gd name="connsiteY222" fmla="*/ 4539566 h 6471290"/>
              <a:gd name="connsiteX223" fmla="*/ 4718915 w 6998756"/>
              <a:gd name="connsiteY223" fmla="*/ 4738425 h 6471290"/>
              <a:gd name="connsiteX224" fmla="*/ 4532769 w 6998756"/>
              <a:gd name="connsiteY224" fmla="*/ 4890452 h 6471290"/>
              <a:gd name="connsiteX225" fmla="*/ 4526503 w 6998756"/>
              <a:gd name="connsiteY225" fmla="*/ 4843619 h 6471290"/>
              <a:gd name="connsiteX226" fmla="*/ 4247835 w 6998756"/>
              <a:gd name="connsiteY226" fmla="*/ 5135145 h 6471290"/>
              <a:gd name="connsiteX227" fmla="*/ 4024115 w 6998756"/>
              <a:gd name="connsiteY227" fmla="*/ 5366186 h 6471290"/>
              <a:gd name="connsiteX228" fmla="*/ 3995623 w 6998756"/>
              <a:gd name="connsiteY228" fmla="*/ 5389730 h 6471290"/>
              <a:gd name="connsiteX229" fmla="*/ 3986163 w 6998756"/>
              <a:gd name="connsiteY229" fmla="*/ 5416368 h 6471290"/>
              <a:gd name="connsiteX230" fmla="*/ 3928277 w 6998756"/>
              <a:gd name="connsiteY230" fmla="*/ 5472526 h 6471290"/>
              <a:gd name="connsiteX231" fmla="*/ 3844218 w 6998756"/>
              <a:gd name="connsiteY231" fmla="*/ 5544226 h 6471290"/>
              <a:gd name="connsiteX232" fmla="*/ 3792093 w 6998756"/>
              <a:gd name="connsiteY232" fmla="*/ 5571093 h 6471290"/>
              <a:gd name="connsiteX233" fmla="*/ 3759942 w 6998756"/>
              <a:gd name="connsiteY233" fmla="*/ 5620143 h 6471290"/>
              <a:gd name="connsiteX234" fmla="*/ 3706934 w 6998756"/>
              <a:gd name="connsiteY234" fmla="*/ 5663875 h 6471290"/>
              <a:gd name="connsiteX235" fmla="*/ 3702497 w 6998756"/>
              <a:gd name="connsiteY235" fmla="*/ 5667870 h 6471290"/>
              <a:gd name="connsiteX236" fmla="*/ 3518847 w 6998756"/>
              <a:gd name="connsiteY236" fmla="*/ 5785093 h 6471290"/>
              <a:gd name="connsiteX237" fmla="*/ 3488261 w 6998756"/>
              <a:gd name="connsiteY237" fmla="*/ 5884957 h 6471290"/>
              <a:gd name="connsiteX238" fmla="*/ 3464095 w 6998756"/>
              <a:gd name="connsiteY238" fmla="*/ 5942882 h 6471290"/>
              <a:gd name="connsiteX239" fmla="*/ 3313061 w 6998756"/>
              <a:gd name="connsiteY239" fmla="*/ 6082948 h 6471290"/>
              <a:gd name="connsiteX240" fmla="*/ 3245422 w 6998756"/>
              <a:gd name="connsiteY240" fmla="*/ 6163964 h 6471290"/>
              <a:gd name="connsiteX241" fmla="*/ 3153375 w 6998756"/>
              <a:gd name="connsiteY241" fmla="*/ 6226792 h 6471290"/>
              <a:gd name="connsiteX242" fmla="*/ 2961294 w 6998756"/>
              <a:gd name="connsiteY242" fmla="*/ 6343572 h 6471290"/>
              <a:gd name="connsiteX243" fmla="*/ 2810016 w 6998756"/>
              <a:gd name="connsiteY243" fmla="*/ 6407526 h 6471290"/>
              <a:gd name="connsiteX244" fmla="*/ 2738338 w 6998756"/>
              <a:gd name="connsiteY244" fmla="*/ 6323448 h 6471290"/>
              <a:gd name="connsiteX245" fmla="*/ 2694401 w 6998756"/>
              <a:gd name="connsiteY245" fmla="*/ 6274643 h 6471290"/>
              <a:gd name="connsiteX246" fmla="*/ 2721454 w 6998756"/>
              <a:gd name="connsiteY246" fmla="*/ 6242236 h 6471290"/>
              <a:gd name="connsiteX247" fmla="*/ 2735202 w 6998756"/>
              <a:gd name="connsiteY247" fmla="*/ 6221819 h 6471290"/>
              <a:gd name="connsiteX248" fmla="*/ 2738271 w 6998756"/>
              <a:gd name="connsiteY248" fmla="*/ 6082464 h 6471290"/>
              <a:gd name="connsiteX249" fmla="*/ 2735600 w 6998756"/>
              <a:gd name="connsiteY249" fmla="*/ 6052727 h 6471290"/>
              <a:gd name="connsiteX250" fmla="*/ 2676367 w 6998756"/>
              <a:gd name="connsiteY250" fmla="*/ 6053856 h 6471290"/>
              <a:gd name="connsiteX251" fmla="*/ 2666789 w 6998756"/>
              <a:gd name="connsiteY251" fmla="*/ 5913839 h 6471290"/>
              <a:gd name="connsiteX252" fmla="*/ 2777438 w 6998756"/>
              <a:gd name="connsiteY252" fmla="*/ 5737835 h 6471290"/>
              <a:gd name="connsiteX253" fmla="*/ 2784079 w 6998756"/>
              <a:gd name="connsiteY253" fmla="*/ 5691678 h 6471290"/>
              <a:gd name="connsiteX254" fmla="*/ 2720855 w 6998756"/>
              <a:gd name="connsiteY254" fmla="*/ 5688369 h 6471290"/>
              <a:gd name="connsiteX255" fmla="*/ 2653878 w 6998756"/>
              <a:gd name="connsiteY255" fmla="*/ 5756737 h 6471290"/>
              <a:gd name="connsiteX256" fmla="*/ 2519482 w 6998756"/>
              <a:gd name="connsiteY256" fmla="*/ 5901902 h 6471290"/>
              <a:gd name="connsiteX257" fmla="*/ 2506174 w 6998756"/>
              <a:gd name="connsiteY257" fmla="*/ 5913889 h 6471290"/>
              <a:gd name="connsiteX258" fmla="*/ 2400601 w 6998756"/>
              <a:gd name="connsiteY258" fmla="*/ 5992919 h 6471290"/>
              <a:gd name="connsiteX259" fmla="*/ 2004743 w 6998756"/>
              <a:gd name="connsiteY259" fmla="*/ 6449939 h 6471290"/>
              <a:gd name="connsiteX260" fmla="*/ 1957495 w 6998756"/>
              <a:gd name="connsiteY260" fmla="*/ 6464378 h 6471290"/>
              <a:gd name="connsiteX261" fmla="*/ 1947056 w 6998756"/>
              <a:gd name="connsiteY261" fmla="*/ 6421555 h 6471290"/>
              <a:gd name="connsiteX262" fmla="*/ 1974311 w 6998756"/>
              <a:gd name="connsiteY262" fmla="*/ 6304603 h 6471290"/>
              <a:gd name="connsiteX263" fmla="*/ 2027074 w 6998756"/>
              <a:gd name="connsiteY263" fmla="*/ 6184760 h 6471290"/>
              <a:gd name="connsiteX264" fmla="*/ 2092042 w 6998756"/>
              <a:gd name="connsiteY264" fmla="*/ 6074010 h 6471290"/>
              <a:gd name="connsiteX265" fmla="*/ 2045655 w 6998756"/>
              <a:gd name="connsiteY265" fmla="*/ 5991255 h 6471290"/>
              <a:gd name="connsiteX266" fmla="*/ 2017031 w 6998756"/>
              <a:gd name="connsiteY266" fmla="*/ 5972846 h 6471290"/>
              <a:gd name="connsiteX267" fmla="*/ 2043205 w 6998756"/>
              <a:gd name="connsiteY267" fmla="*/ 5957304 h 6471290"/>
              <a:gd name="connsiteX268" fmla="*/ 2089326 w 6998756"/>
              <a:gd name="connsiteY268" fmla="*/ 5883619 h 6471290"/>
              <a:gd name="connsiteX269" fmla="*/ 2027203 w 6998756"/>
              <a:gd name="connsiteY269" fmla="*/ 5859228 h 6471290"/>
              <a:gd name="connsiteX270" fmla="*/ 1930943 w 6998756"/>
              <a:gd name="connsiteY270" fmla="*/ 5921835 h 6471290"/>
              <a:gd name="connsiteX271" fmla="*/ 1904328 w 6998756"/>
              <a:gd name="connsiteY271" fmla="*/ 5945808 h 6471290"/>
              <a:gd name="connsiteX272" fmla="*/ 1893008 w 6998756"/>
              <a:gd name="connsiteY272" fmla="*/ 5919849 h 6471290"/>
              <a:gd name="connsiteX273" fmla="*/ 1860171 w 6998756"/>
              <a:gd name="connsiteY273" fmla="*/ 5901220 h 6471290"/>
              <a:gd name="connsiteX274" fmla="*/ 1681174 w 6998756"/>
              <a:gd name="connsiteY274" fmla="*/ 6010231 h 6471290"/>
              <a:gd name="connsiteX275" fmla="*/ 1649893 w 6998756"/>
              <a:gd name="connsiteY275" fmla="*/ 6043868 h 6471290"/>
              <a:gd name="connsiteX276" fmla="*/ 1622071 w 6998756"/>
              <a:gd name="connsiteY276" fmla="*/ 6065956 h 6471290"/>
              <a:gd name="connsiteX277" fmla="*/ 1540971 w 6998756"/>
              <a:gd name="connsiteY277" fmla="*/ 6160162 h 6471290"/>
              <a:gd name="connsiteX278" fmla="*/ 1544660 w 6998756"/>
              <a:gd name="connsiteY278" fmla="*/ 6175465 h 6471290"/>
              <a:gd name="connsiteX279" fmla="*/ 1529348 w 6998756"/>
              <a:gd name="connsiteY279" fmla="*/ 6179157 h 6471290"/>
              <a:gd name="connsiteX280" fmla="*/ 1506106 w 6998756"/>
              <a:gd name="connsiteY280" fmla="*/ 6217148 h 6471290"/>
              <a:gd name="connsiteX281" fmla="*/ 1502416 w 6998756"/>
              <a:gd name="connsiteY281" fmla="*/ 6201844 h 6471290"/>
              <a:gd name="connsiteX282" fmla="*/ 1501761 w 6998756"/>
              <a:gd name="connsiteY282" fmla="*/ 6194940 h 6471290"/>
              <a:gd name="connsiteX283" fmla="*/ 1514037 w 6998756"/>
              <a:gd name="connsiteY283" fmla="*/ 6182848 h 6471290"/>
              <a:gd name="connsiteX284" fmla="*/ 1501102 w 6998756"/>
              <a:gd name="connsiteY284" fmla="*/ 6187991 h 6471290"/>
              <a:gd name="connsiteX285" fmla="*/ 1501761 w 6998756"/>
              <a:gd name="connsiteY285" fmla="*/ 6194940 h 6471290"/>
              <a:gd name="connsiteX286" fmla="*/ 1484784 w 6998756"/>
              <a:gd name="connsiteY286" fmla="*/ 6211661 h 6471290"/>
              <a:gd name="connsiteX287" fmla="*/ 1409997 w 6998756"/>
              <a:gd name="connsiteY287" fmla="*/ 6288901 h 6471290"/>
              <a:gd name="connsiteX288" fmla="*/ 1511970 w 6998756"/>
              <a:gd name="connsiteY288" fmla="*/ 5984207 h 6471290"/>
              <a:gd name="connsiteX289" fmla="*/ 1538118 w 6998756"/>
              <a:gd name="connsiteY289" fmla="*/ 5938165 h 6471290"/>
              <a:gd name="connsiteX290" fmla="*/ 1548035 w 6998756"/>
              <a:gd name="connsiteY290" fmla="*/ 5889113 h 6471290"/>
              <a:gd name="connsiteX291" fmla="*/ 1598127 w 6998756"/>
              <a:gd name="connsiteY291" fmla="*/ 5739534 h 6471290"/>
              <a:gd name="connsiteX292" fmla="*/ 1482117 w 6998756"/>
              <a:gd name="connsiteY292" fmla="*/ 5775743 h 6471290"/>
              <a:gd name="connsiteX293" fmla="*/ 1436192 w 6998756"/>
              <a:gd name="connsiteY293" fmla="*/ 5764882 h 6471290"/>
              <a:gd name="connsiteX294" fmla="*/ 1440826 w 6998756"/>
              <a:gd name="connsiteY294" fmla="*/ 5676343 h 6471290"/>
              <a:gd name="connsiteX295" fmla="*/ 1463644 w 6998756"/>
              <a:gd name="connsiteY295" fmla="*/ 5563387 h 6471290"/>
              <a:gd name="connsiteX296" fmla="*/ 1461191 w 6998756"/>
              <a:gd name="connsiteY296" fmla="*/ 5529435 h 6471290"/>
              <a:gd name="connsiteX297" fmla="*/ 1422596 w 6998756"/>
              <a:gd name="connsiteY297" fmla="*/ 5540099 h 6471290"/>
              <a:gd name="connsiteX298" fmla="*/ 1395762 w 6998756"/>
              <a:gd name="connsiteY298" fmla="*/ 5568288 h 6471290"/>
              <a:gd name="connsiteX299" fmla="*/ 1198384 w 6998756"/>
              <a:gd name="connsiteY299" fmla="*/ 5786259 h 6471290"/>
              <a:gd name="connsiteX300" fmla="*/ 1083475 w 6998756"/>
              <a:gd name="connsiteY300" fmla="*/ 5801385 h 6471290"/>
              <a:gd name="connsiteX301" fmla="*/ 1028677 w 6998756"/>
              <a:gd name="connsiteY301" fmla="*/ 5798517 h 6471290"/>
              <a:gd name="connsiteX302" fmla="*/ 1011155 w 6998756"/>
              <a:gd name="connsiteY302" fmla="*/ 5810283 h 6471290"/>
              <a:gd name="connsiteX303" fmla="*/ 927957 w 6998756"/>
              <a:gd name="connsiteY303" fmla="*/ 5784790 h 6471290"/>
              <a:gd name="connsiteX304" fmla="*/ 956779 w 6998756"/>
              <a:gd name="connsiteY304" fmla="*/ 5718655 h 6471290"/>
              <a:gd name="connsiteX305" fmla="*/ 1129307 w 6998756"/>
              <a:gd name="connsiteY305" fmla="*/ 5490928 h 6471290"/>
              <a:gd name="connsiteX306" fmla="*/ 1119531 w 6998756"/>
              <a:gd name="connsiteY306" fmla="*/ 5435456 h 6471290"/>
              <a:gd name="connsiteX307" fmla="*/ 1072503 w 6998756"/>
              <a:gd name="connsiteY307" fmla="*/ 5445678 h 6471290"/>
              <a:gd name="connsiteX308" fmla="*/ 979575 w 6998756"/>
              <a:gd name="connsiteY308" fmla="*/ 5525371 h 6471290"/>
              <a:gd name="connsiteX309" fmla="*/ 928994 w 6998756"/>
              <a:gd name="connsiteY309" fmla="*/ 5522724 h 6471290"/>
              <a:gd name="connsiteX310" fmla="*/ 960263 w 6998756"/>
              <a:gd name="connsiteY310" fmla="*/ 5490538 h 6471290"/>
              <a:gd name="connsiteX311" fmla="*/ 986437 w 6998756"/>
              <a:gd name="connsiteY311" fmla="*/ 5474996 h 6471290"/>
              <a:gd name="connsiteX312" fmla="*/ 969776 w 6998756"/>
              <a:gd name="connsiteY312" fmla="*/ 5389568 h 6471290"/>
              <a:gd name="connsiteX313" fmla="*/ 954680 w 6998756"/>
              <a:gd name="connsiteY313" fmla="*/ 5354956 h 6471290"/>
              <a:gd name="connsiteX314" fmla="*/ 1074861 w 6998756"/>
              <a:gd name="connsiteY314" fmla="*/ 5158314 h 6471290"/>
              <a:gd name="connsiteX315" fmla="*/ 1244742 w 6998756"/>
              <a:gd name="connsiteY315" fmla="*/ 4981183 h 6471290"/>
              <a:gd name="connsiteX316" fmla="*/ 1412173 w 6998756"/>
              <a:gd name="connsiteY316" fmla="*/ 4770102 h 6471290"/>
              <a:gd name="connsiteX317" fmla="*/ 1438788 w 6998756"/>
              <a:gd name="connsiteY317" fmla="*/ 4746127 h 6471290"/>
              <a:gd name="connsiteX318" fmla="*/ 1732425 w 6998756"/>
              <a:gd name="connsiteY318" fmla="*/ 4465552 h 6471290"/>
              <a:gd name="connsiteX319" fmla="*/ 1748821 w 6998756"/>
              <a:gd name="connsiteY319" fmla="*/ 4394540 h 6471290"/>
              <a:gd name="connsiteX320" fmla="*/ 1672290 w 6998756"/>
              <a:gd name="connsiteY320" fmla="*/ 4403217 h 6471290"/>
              <a:gd name="connsiteX321" fmla="*/ 1577250 w 6998756"/>
              <a:gd name="connsiteY321" fmla="*/ 4472757 h 6471290"/>
              <a:gd name="connsiteX322" fmla="*/ 1569145 w 6998756"/>
              <a:gd name="connsiteY322" fmla="*/ 4480975 h 6471290"/>
              <a:gd name="connsiteX323" fmla="*/ 1566853 w 6998756"/>
              <a:gd name="connsiteY323" fmla="*/ 4487821 h 6471290"/>
              <a:gd name="connsiteX324" fmla="*/ 1525477 w 6998756"/>
              <a:gd name="connsiteY324" fmla="*/ 4532306 h 6471290"/>
              <a:gd name="connsiteX325" fmla="*/ 1502850 w 6998756"/>
              <a:gd name="connsiteY325" fmla="*/ 4571916 h 6471290"/>
              <a:gd name="connsiteX326" fmla="*/ 1467364 w 6998756"/>
              <a:gd name="connsiteY326" fmla="*/ 4603880 h 6471290"/>
              <a:gd name="connsiteX327" fmla="*/ 1460649 w 6998756"/>
              <a:gd name="connsiteY327" fmla="*/ 4601625 h 6471290"/>
              <a:gd name="connsiteX328" fmla="*/ 1386972 w 6998756"/>
              <a:gd name="connsiteY328" fmla="*/ 4686679 h 6471290"/>
              <a:gd name="connsiteX329" fmla="*/ 1200827 w 6998756"/>
              <a:gd name="connsiteY329" fmla="*/ 4838705 h 6471290"/>
              <a:gd name="connsiteX330" fmla="*/ 1194561 w 6998756"/>
              <a:gd name="connsiteY330" fmla="*/ 4791874 h 6471290"/>
              <a:gd name="connsiteX331" fmla="*/ 915893 w 6998756"/>
              <a:gd name="connsiteY331" fmla="*/ 5083399 h 6471290"/>
              <a:gd name="connsiteX332" fmla="*/ 592502 w 6998756"/>
              <a:gd name="connsiteY332" fmla="*/ 5396799 h 6471290"/>
              <a:gd name="connsiteX333" fmla="*/ 555028 w 6998756"/>
              <a:gd name="connsiteY333" fmla="*/ 5354143 h 6471290"/>
              <a:gd name="connsiteX334" fmla="*/ 510304 w 6998756"/>
              <a:gd name="connsiteY334" fmla="*/ 5376018 h 6471290"/>
              <a:gd name="connsiteX335" fmla="*/ 521730 w 6998756"/>
              <a:gd name="connsiteY335" fmla="*/ 5342708 h 6471290"/>
              <a:gd name="connsiteX336" fmla="*/ 535246 w 6998756"/>
              <a:gd name="connsiteY336" fmla="*/ 5325010 h 6471290"/>
              <a:gd name="connsiteX337" fmla="*/ 560189 w 6998756"/>
              <a:gd name="connsiteY337" fmla="*/ 5274003 h 6471290"/>
              <a:gd name="connsiteX338" fmla="*/ 577882 w 6998756"/>
              <a:gd name="connsiteY338" fmla="*/ 5287525 h 6471290"/>
              <a:gd name="connsiteX339" fmla="*/ 607002 w 6998756"/>
              <a:gd name="connsiteY339" fmla="*/ 5267739 h 6471290"/>
              <a:gd name="connsiteX340" fmla="*/ 595575 w 6998756"/>
              <a:gd name="connsiteY340" fmla="*/ 5301047 h 6471290"/>
              <a:gd name="connsiteX341" fmla="*/ 582059 w 6998756"/>
              <a:gd name="connsiteY341" fmla="*/ 5318746 h 6471290"/>
              <a:gd name="connsiteX342" fmla="*/ 764028 w 6998756"/>
              <a:gd name="connsiteY342" fmla="*/ 5135499 h 6471290"/>
              <a:gd name="connsiteX343" fmla="*/ 1044783 w 6998756"/>
              <a:gd name="connsiteY343" fmla="*/ 4859584 h 6471290"/>
              <a:gd name="connsiteX344" fmla="*/ 1163352 w 6998756"/>
              <a:gd name="connsiteY344" fmla="*/ 4796049 h 6471290"/>
              <a:gd name="connsiteX345" fmla="*/ 1240268 w 6998756"/>
              <a:gd name="connsiteY345" fmla="*/ 4658638 h 6471290"/>
              <a:gd name="connsiteX346" fmla="*/ 1308875 w 6998756"/>
              <a:gd name="connsiteY346" fmla="*/ 4611223 h 6471290"/>
              <a:gd name="connsiteX347" fmla="*/ 1328941 w 6998756"/>
              <a:gd name="connsiteY347" fmla="*/ 4593105 h 6471290"/>
              <a:gd name="connsiteX348" fmla="*/ 1163695 w 6998756"/>
              <a:gd name="connsiteY348" fmla="*/ 4712707 h 6471290"/>
              <a:gd name="connsiteX349" fmla="*/ 971403 w 6998756"/>
              <a:gd name="connsiteY349" fmla="*/ 4873868 h 6471290"/>
              <a:gd name="connsiteX350" fmla="*/ 767779 w 6998756"/>
              <a:gd name="connsiteY350" fmla="*/ 4968905 h 6471290"/>
              <a:gd name="connsiteX351" fmla="*/ 720089 w 6998756"/>
              <a:gd name="connsiteY351" fmla="*/ 4991775 h 6471290"/>
              <a:gd name="connsiteX352" fmla="*/ 527126 w 6998756"/>
              <a:gd name="connsiteY352" fmla="*/ 5125420 h 6471290"/>
              <a:gd name="connsiteX353" fmla="*/ 391825 w 6998756"/>
              <a:gd name="connsiteY353" fmla="*/ 5207124 h 6471290"/>
              <a:gd name="connsiteX354" fmla="*/ 319287 w 6998756"/>
              <a:gd name="connsiteY354" fmla="*/ 5220239 h 6471290"/>
              <a:gd name="connsiteX355" fmla="*/ 301522 w 6998756"/>
              <a:gd name="connsiteY355" fmla="*/ 5155892 h 6471290"/>
              <a:gd name="connsiteX356" fmla="*/ 421703 w 6998756"/>
              <a:gd name="connsiteY356" fmla="*/ 4959251 h 6471290"/>
              <a:gd name="connsiteX357" fmla="*/ 218080 w 6998756"/>
              <a:gd name="connsiteY357" fmla="*/ 5054288 h 6471290"/>
              <a:gd name="connsiteX358" fmla="*/ 179262 w 6998756"/>
              <a:gd name="connsiteY358" fmla="*/ 5069167 h 6471290"/>
              <a:gd name="connsiteX359" fmla="*/ 176812 w 6998756"/>
              <a:gd name="connsiteY359" fmla="*/ 5035217 h 6471290"/>
              <a:gd name="connsiteX360" fmla="*/ 153507 w 6998756"/>
              <a:gd name="connsiteY360" fmla="*/ 4995946 h 6471290"/>
              <a:gd name="connsiteX361" fmla="*/ 118242 w 6998756"/>
              <a:gd name="connsiteY361" fmla="*/ 5023697 h 6471290"/>
              <a:gd name="connsiteX362" fmla="*/ 69672 w 6998756"/>
              <a:gd name="connsiteY362" fmla="*/ 5063432 h 6471290"/>
              <a:gd name="connsiteX363" fmla="*/ 0 w 6998756"/>
              <a:gd name="connsiteY363" fmla="*/ 5021735 h 6471290"/>
              <a:gd name="connsiteX364" fmla="*/ 60557 w 6998756"/>
              <a:gd name="connsiteY364" fmla="*/ 4995310 h 6471290"/>
              <a:gd name="connsiteX365" fmla="*/ 86066 w 6998756"/>
              <a:gd name="connsiteY365" fmla="*/ 4992417 h 6471290"/>
              <a:gd name="connsiteX366" fmla="*/ 45021 w 6998756"/>
              <a:gd name="connsiteY366" fmla="*/ 4969131 h 6471290"/>
              <a:gd name="connsiteX367" fmla="*/ 39016 w 6998756"/>
              <a:gd name="connsiteY367" fmla="*/ 4922312 h 6471290"/>
              <a:gd name="connsiteX368" fmla="*/ 52986 w 6998756"/>
              <a:gd name="connsiteY368" fmla="*/ 4897675 h 6471290"/>
              <a:gd name="connsiteX369" fmla="*/ 83327 w 6998756"/>
              <a:gd name="connsiteY369" fmla="*/ 4721697 h 6471290"/>
              <a:gd name="connsiteX370" fmla="*/ 134968 w 6998756"/>
              <a:gd name="connsiteY370" fmla="*/ 4542607 h 6471290"/>
              <a:gd name="connsiteX371" fmla="*/ 149820 w 6998756"/>
              <a:gd name="connsiteY371" fmla="*/ 4501107 h 6471290"/>
              <a:gd name="connsiteX372" fmla="*/ 185721 w 6998756"/>
              <a:gd name="connsiteY372" fmla="*/ 4380380 h 6471290"/>
              <a:gd name="connsiteX373" fmla="*/ 168840 w 6998756"/>
              <a:gd name="connsiteY373" fmla="*/ 4299168 h 6471290"/>
              <a:gd name="connsiteX374" fmla="*/ 176363 w 6998756"/>
              <a:gd name="connsiteY374" fmla="*/ 4236145 h 6471290"/>
              <a:gd name="connsiteX375" fmla="*/ 182566 w 6998756"/>
              <a:gd name="connsiteY375" fmla="*/ 4198422 h 6471290"/>
              <a:gd name="connsiteX376" fmla="*/ 174797 w 6998756"/>
              <a:gd name="connsiteY376" fmla="*/ 4185330 h 6471290"/>
              <a:gd name="connsiteX377" fmla="*/ 209819 w 6998756"/>
              <a:gd name="connsiteY377" fmla="*/ 4081470 h 6471290"/>
              <a:gd name="connsiteX378" fmla="*/ 208252 w 6998756"/>
              <a:gd name="connsiteY378" fmla="*/ 4030654 h 6471290"/>
              <a:gd name="connsiteX379" fmla="*/ 264570 w 6998756"/>
              <a:gd name="connsiteY379" fmla="*/ 3923679 h 6471290"/>
              <a:gd name="connsiteX380" fmla="*/ 400974 w 6998756"/>
              <a:gd name="connsiteY380" fmla="*/ 3820896 h 6471290"/>
              <a:gd name="connsiteX381" fmla="*/ 414499 w 6998756"/>
              <a:gd name="connsiteY381" fmla="*/ 3804693 h 6471290"/>
              <a:gd name="connsiteX382" fmla="*/ 570169 w 6998756"/>
              <a:gd name="connsiteY382" fmla="*/ 3576085 h 6471290"/>
              <a:gd name="connsiteX383" fmla="*/ 739142 w 6998756"/>
              <a:gd name="connsiteY383" fmla="*/ 3335491 h 6471290"/>
              <a:gd name="connsiteX384" fmla="*/ 977767 w 6998756"/>
              <a:gd name="connsiteY384" fmla="*/ 3056263 h 6471290"/>
              <a:gd name="connsiteX385" fmla="*/ 1185315 w 6998756"/>
              <a:gd name="connsiteY385" fmla="*/ 2724678 h 6471290"/>
              <a:gd name="connsiteX386" fmla="*/ 1185956 w 6998756"/>
              <a:gd name="connsiteY386" fmla="*/ 2631700 h 6471290"/>
              <a:gd name="connsiteX387" fmla="*/ 1184401 w 6998756"/>
              <a:gd name="connsiteY387" fmla="*/ 2626072 h 6471290"/>
              <a:gd name="connsiteX388" fmla="*/ 1173243 w 6998756"/>
              <a:gd name="connsiteY388" fmla="*/ 2644084 h 6471290"/>
              <a:gd name="connsiteX389" fmla="*/ 1169705 w 6998756"/>
              <a:gd name="connsiteY389" fmla="*/ 2689893 h 6471290"/>
              <a:gd name="connsiteX390" fmla="*/ 1086684 w 6998756"/>
              <a:gd name="connsiteY390" fmla="*/ 2779583 h 6471290"/>
              <a:gd name="connsiteX391" fmla="*/ 1047140 w 6998756"/>
              <a:gd name="connsiteY391" fmla="*/ 2827845 h 6471290"/>
              <a:gd name="connsiteX392" fmla="*/ 940529 w 6998756"/>
              <a:gd name="connsiteY392" fmla="*/ 3056720 h 6471290"/>
              <a:gd name="connsiteX393" fmla="*/ 893738 w 6998756"/>
              <a:gd name="connsiteY393" fmla="*/ 3101877 h 6471290"/>
              <a:gd name="connsiteX394" fmla="*/ 900556 w 6998756"/>
              <a:gd name="connsiteY394" fmla="*/ 2977811 h 6471290"/>
              <a:gd name="connsiteX395" fmla="*/ 946920 w 6998756"/>
              <a:gd name="connsiteY395" fmla="*/ 2805484 h 6471290"/>
              <a:gd name="connsiteX396" fmla="*/ 1007991 w 6998756"/>
              <a:gd name="connsiteY396" fmla="*/ 2702956 h 6471290"/>
              <a:gd name="connsiteX397" fmla="*/ 1061846 w 6998756"/>
              <a:gd name="connsiteY397" fmla="*/ 2635301 h 6471290"/>
              <a:gd name="connsiteX398" fmla="*/ 1065180 w 6998756"/>
              <a:gd name="connsiteY398" fmla="*/ 2629726 h 6471290"/>
              <a:gd name="connsiteX399" fmla="*/ 1069875 w 6998756"/>
              <a:gd name="connsiteY399" fmla="*/ 2618870 h 6471290"/>
              <a:gd name="connsiteX400" fmla="*/ 1072037 w 6998756"/>
              <a:gd name="connsiteY400" fmla="*/ 2618260 h 6471290"/>
              <a:gd name="connsiteX401" fmla="*/ 1076372 w 6998756"/>
              <a:gd name="connsiteY401" fmla="*/ 2611011 h 6471290"/>
              <a:gd name="connsiteX402" fmla="*/ 1076437 w 6998756"/>
              <a:gd name="connsiteY402" fmla="*/ 2603702 h 6471290"/>
              <a:gd name="connsiteX403" fmla="*/ 1069875 w 6998756"/>
              <a:gd name="connsiteY403" fmla="*/ 2618870 h 6471290"/>
              <a:gd name="connsiteX404" fmla="*/ 1063474 w 6998756"/>
              <a:gd name="connsiteY404" fmla="*/ 2620676 h 6471290"/>
              <a:gd name="connsiteX405" fmla="*/ 1048509 w 6998756"/>
              <a:gd name="connsiteY405" fmla="*/ 2622678 h 6471290"/>
              <a:gd name="connsiteX406" fmla="*/ 1074434 w 6998756"/>
              <a:gd name="connsiteY406" fmla="*/ 2588731 h 6471290"/>
              <a:gd name="connsiteX407" fmla="*/ 1072430 w 6998756"/>
              <a:gd name="connsiteY407" fmla="*/ 2573759 h 6471290"/>
              <a:gd name="connsiteX408" fmla="*/ 1087395 w 6998756"/>
              <a:gd name="connsiteY408" fmla="*/ 2571757 h 6471290"/>
              <a:gd name="connsiteX409" fmla="*/ 1359603 w 6998756"/>
              <a:gd name="connsiteY409" fmla="*/ 2215307 h 6471290"/>
              <a:gd name="connsiteX410" fmla="*/ 1627804 w 6998756"/>
              <a:gd name="connsiteY410" fmla="*/ 1828915 h 6471290"/>
              <a:gd name="connsiteX411" fmla="*/ 1659738 w 6998756"/>
              <a:gd name="connsiteY411" fmla="*/ 1839882 h 6471290"/>
              <a:gd name="connsiteX412" fmla="*/ 1761434 w 6998756"/>
              <a:gd name="connsiteY412" fmla="*/ 1689119 h 6471290"/>
              <a:gd name="connsiteX413" fmla="*/ 1933950 w 6998756"/>
              <a:gd name="connsiteY413" fmla="*/ 1498403 h 6471290"/>
              <a:gd name="connsiteX414" fmla="*/ 2112475 w 6998756"/>
              <a:gd name="connsiteY414" fmla="*/ 1352601 h 6471290"/>
              <a:gd name="connsiteX415" fmla="*/ 2112772 w 6998756"/>
              <a:gd name="connsiteY415" fmla="*/ 1386849 h 6471290"/>
              <a:gd name="connsiteX416" fmla="*/ 2115875 w 6998756"/>
              <a:gd name="connsiteY416" fmla="*/ 1392643 h 6471290"/>
              <a:gd name="connsiteX417" fmla="*/ 2368381 w 6998756"/>
              <a:gd name="connsiteY417" fmla="*/ 1113415 h 6471290"/>
              <a:gd name="connsiteX418" fmla="*/ 2372963 w 6998756"/>
              <a:gd name="connsiteY418" fmla="*/ 1120035 h 6471290"/>
              <a:gd name="connsiteX419" fmla="*/ 2380065 w 6998756"/>
              <a:gd name="connsiteY419" fmla="*/ 1123576 h 6471290"/>
              <a:gd name="connsiteX420" fmla="*/ 2385743 w 6998756"/>
              <a:gd name="connsiteY420" fmla="*/ 1117924 h 6471290"/>
              <a:gd name="connsiteX421" fmla="*/ 2695893 w 6998756"/>
              <a:gd name="connsiteY421" fmla="*/ 817356 h 6471290"/>
              <a:gd name="connsiteX422" fmla="*/ 2731833 w 6998756"/>
              <a:gd name="connsiteY422" fmla="*/ 858265 h 6471290"/>
              <a:gd name="connsiteX423" fmla="*/ 2774726 w 6998756"/>
              <a:gd name="connsiteY423" fmla="*/ 837287 h 6471290"/>
              <a:gd name="connsiteX424" fmla="*/ 2774108 w 6998756"/>
              <a:gd name="connsiteY424" fmla="*/ 846894 h 6471290"/>
              <a:gd name="connsiteX425" fmla="*/ 2767188 w 6998756"/>
              <a:gd name="connsiteY425" fmla="*/ 861843 h 6471290"/>
              <a:gd name="connsiteX426" fmla="*/ 2872754 w 6998756"/>
              <a:gd name="connsiteY426" fmla="*/ 766749 h 6471290"/>
              <a:gd name="connsiteX427" fmla="*/ 3000067 w 6998756"/>
              <a:gd name="connsiteY427" fmla="*/ 676175 h 6471290"/>
              <a:gd name="connsiteX428" fmla="*/ 3027122 w 6998756"/>
              <a:gd name="connsiteY428" fmla="*/ 643768 h 6471290"/>
              <a:gd name="connsiteX429" fmla="*/ 3127576 w 6998756"/>
              <a:gd name="connsiteY429" fmla="*/ 501053 h 6471290"/>
              <a:gd name="connsiteX430" fmla="*/ 3302819 w 6998756"/>
              <a:gd name="connsiteY430" fmla="*/ 463719 h 6471290"/>
              <a:gd name="connsiteX431" fmla="*/ 3349649 w 6998756"/>
              <a:gd name="connsiteY431" fmla="*/ 538040 h 6471290"/>
              <a:gd name="connsiteX432" fmla="*/ 3290926 w 6998756"/>
              <a:gd name="connsiteY432" fmla="*/ 771722 h 6471290"/>
              <a:gd name="connsiteX433" fmla="*/ 3284726 w 6998756"/>
              <a:gd name="connsiteY433" fmla="*/ 809448 h 6471290"/>
              <a:gd name="connsiteX434" fmla="*/ 3331534 w 6998756"/>
              <a:gd name="connsiteY434" fmla="*/ 803443 h 6471290"/>
              <a:gd name="connsiteX435" fmla="*/ 3421571 w 6998756"/>
              <a:gd name="connsiteY435" fmla="*/ 698234 h 6471290"/>
              <a:gd name="connsiteX436" fmla="*/ 3767311 w 6998756"/>
              <a:gd name="connsiteY436" fmla="*/ 310461 h 6471290"/>
              <a:gd name="connsiteX437" fmla="*/ 3837621 w 6998756"/>
              <a:gd name="connsiteY437" fmla="*/ 259179 h 6471290"/>
              <a:gd name="connsiteX438" fmla="*/ 3883987 w 6998756"/>
              <a:gd name="connsiteY438" fmla="*/ 261605 h 6471290"/>
              <a:gd name="connsiteX439" fmla="*/ 3913493 w 6998756"/>
              <a:gd name="connsiteY439" fmla="*/ 263149 h 6471290"/>
              <a:gd name="connsiteX440" fmla="*/ 4000022 w 6998756"/>
              <a:gd name="connsiteY440" fmla="*/ 305729 h 6471290"/>
              <a:gd name="connsiteX441" fmla="*/ 4007791 w 6998756"/>
              <a:gd name="connsiteY441" fmla="*/ 318818 h 6471290"/>
              <a:gd name="connsiteX442" fmla="*/ 4025798 w 6998756"/>
              <a:gd name="connsiteY442" fmla="*/ 459279 h 6471290"/>
              <a:gd name="connsiteX443" fmla="*/ 4011832 w 6998756"/>
              <a:gd name="connsiteY443" fmla="*/ 483913 h 6471290"/>
              <a:gd name="connsiteX444" fmla="*/ 4065987 w 6998756"/>
              <a:gd name="connsiteY444" fmla="*/ 579758 h 6471290"/>
              <a:gd name="connsiteX445" fmla="*/ 4074639 w 6998756"/>
              <a:gd name="connsiteY445" fmla="*/ 575982 h 6471290"/>
              <a:gd name="connsiteX446" fmla="*/ 4189966 w 6998756"/>
              <a:gd name="connsiteY446" fmla="*/ 472096 h 6471290"/>
              <a:gd name="connsiteX447" fmla="*/ 4274024 w 6998756"/>
              <a:gd name="connsiteY447" fmla="*/ 400396 h 6471290"/>
              <a:gd name="connsiteX448" fmla="*/ 4242487 w 6998756"/>
              <a:gd name="connsiteY448" fmla="*/ 276141 h 6471290"/>
              <a:gd name="connsiteX449" fmla="*/ 4264444 w 6998756"/>
              <a:gd name="connsiteY449" fmla="*/ 260379 h 6471290"/>
              <a:gd name="connsiteX450" fmla="*/ 4267336 w 6998756"/>
              <a:gd name="connsiteY450" fmla="*/ 285896 h 6471290"/>
              <a:gd name="connsiteX451" fmla="*/ 4265129 w 6998756"/>
              <a:gd name="connsiteY451" fmla="*/ 328059 h 6471290"/>
              <a:gd name="connsiteX452" fmla="*/ 4291965 w 6998756"/>
              <a:gd name="connsiteY452" fmla="*/ 299870 h 6471290"/>
              <a:gd name="connsiteX453" fmla="*/ 4324535 w 6998756"/>
              <a:gd name="connsiteY453" fmla="*/ 162056 h 6471290"/>
              <a:gd name="connsiteX454" fmla="*/ 4426778 w 6998756"/>
              <a:gd name="connsiteY454" fmla="*/ 65942 h 6471290"/>
              <a:gd name="connsiteX455" fmla="*/ 4457387 w 6998756"/>
              <a:gd name="connsiteY455" fmla="*/ 46404 h 6471290"/>
              <a:gd name="connsiteX456" fmla="*/ 4540121 w 6998756"/>
              <a:gd name="connsiteY456" fmla="*/ 0 h 64712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</a:cxnLst>
            <a:rect l="l" t="t" r="r" b="b"/>
            <a:pathLst>
              <a:path w="6998756" h="6471290">
                <a:moveTo>
                  <a:pt x="4043260" y="5264682"/>
                </a:moveTo>
                <a:lnTo>
                  <a:pt x="4031821" y="5270785"/>
                </a:lnTo>
                <a:lnTo>
                  <a:pt x="4032292" y="5276701"/>
                </a:lnTo>
                <a:lnTo>
                  <a:pt x="4034244" y="5274954"/>
                </a:lnTo>
                <a:close/>
                <a:moveTo>
                  <a:pt x="4177955" y="5062815"/>
                </a:moveTo>
                <a:cubicBezTo>
                  <a:pt x="4165309" y="5062153"/>
                  <a:pt x="4148007" y="5069704"/>
                  <a:pt x="4151119" y="5091007"/>
                </a:cubicBezTo>
                <a:cubicBezTo>
                  <a:pt x="4152025" y="5154471"/>
                  <a:pt x="4116761" y="5182219"/>
                  <a:pt x="4049761" y="5170256"/>
                </a:cubicBezTo>
                <a:cubicBezTo>
                  <a:pt x="4041330" y="5169815"/>
                  <a:pt x="4032902" y="5169374"/>
                  <a:pt x="4024029" y="5177366"/>
                </a:cubicBezTo>
                <a:cubicBezTo>
                  <a:pt x="4019594" y="5181361"/>
                  <a:pt x="4019153" y="5189794"/>
                  <a:pt x="4022926" y="5198446"/>
                </a:cubicBezTo>
                <a:cubicBezTo>
                  <a:pt x="4028696" y="5209318"/>
                  <a:pt x="4050384" y="5218908"/>
                  <a:pt x="4060897" y="5230028"/>
                </a:cubicBezTo>
                <a:lnTo>
                  <a:pt x="4066183" y="5238570"/>
                </a:lnTo>
                <a:lnTo>
                  <a:pt x="4079684" y="5223190"/>
                </a:lnTo>
                <a:cubicBezTo>
                  <a:pt x="4090779" y="5207802"/>
                  <a:pt x="4097014" y="5195050"/>
                  <a:pt x="4095970" y="5187245"/>
                </a:cubicBezTo>
                <a:cubicBezTo>
                  <a:pt x="4124046" y="5159654"/>
                  <a:pt x="4153358" y="5133882"/>
                  <a:pt x="4182101" y="5109429"/>
                </a:cubicBezTo>
                <a:lnTo>
                  <a:pt x="4237020" y="5063016"/>
                </a:lnTo>
                <a:lnTo>
                  <a:pt x="4212822" y="5065367"/>
                </a:lnTo>
                <a:cubicBezTo>
                  <a:pt x="4201623" y="5064847"/>
                  <a:pt x="4189546" y="5063421"/>
                  <a:pt x="4177955" y="5062815"/>
                </a:cubicBezTo>
                <a:close/>
                <a:moveTo>
                  <a:pt x="5215197" y="4051921"/>
                </a:moveTo>
                <a:lnTo>
                  <a:pt x="5209287" y="4054961"/>
                </a:lnTo>
                <a:cubicBezTo>
                  <a:pt x="5153974" y="4089720"/>
                  <a:pt x="5108650" y="4138080"/>
                  <a:pt x="5077055" y="4196673"/>
                </a:cubicBezTo>
                <a:cubicBezTo>
                  <a:pt x="5058428" y="4229520"/>
                  <a:pt x="5031816" y="4253493"/>
                  <a:pt x="5001206" y="4273031"/>
                </a:cubicBezTo>
                <a:cubicBezTo>
                  <a:pt x="4961728" y="4300560"/>
                  <a:pt x="4925801" y="4340956"/>
                  <a:pt x="4886981" y="4355836"/>
                </a:cubicBezTo>
                <a:cubicBezTo>
                  <a:pt x="4822431" y="4377825"/>
                  <a:pt x="4789839" y="4435308"/>
                  <a:pt x="4737493" y="4466390"/>
                </a:cubicBezTo>
                <a:cubicBezTo>
                  <a:pt x="4711319" y="4481932"/>
                  <a:pt x="4693355" y="4502129"/>
                  <a:pt x="4675172" y="4526545"/>
                </a:cubicBezTo>
                <a:cubicBezTo>
                  <a:pt x="4607090" y="4615993"/>
                  <a:pt x="4523035" y="4687693"/>
                  <a:pt x="4419003" y="4737211"/>
                </a:cubicBezTo>
                <a:cubicBezTo>
                  <a:pt x="4410354" y="4740984"/>
                  <a:pt x="4397488" y="4744539"/>
                  <a:pt x="4405257" y="4757629"/>
                </a:cubicBezTo>
                <a:cubicBezTo>
                  <a:pt x="4428559" y="4796899"/>
                  <a:pt x="4397951" y="4816437"/>
                  <a:pt x="4375773" y="4836413"/>
                </a:cubicBezTo>
                <a:cubicBezTo>
                  <a:pt x="4322766" y="4880144"/>
                  <a:pt x="4302375" y="4946722"/>
                  <a:pt x="4253140" y="4999107"/>
                </a:cubicBezTo>
                <a:cubicBezTo>
                  <a:pt x="4259469" y="5019520"/>
                  <a:pt x="4260831" y="5033861"/>
                  <a:pt x="4258591" y="5043850"/>
                </a:cubicBezTo>
                <a:lnTo>
                  <a:pt x="4255556" y="5047350"/>
                </a:lnTo>
                <a:lnTo>
                  <a:pt x="4264823" y="5039519"/>
                </a:lnTo>
                <a:cubicBezTo>
                  <a:pt x="4316428" y="4994875"/>
                  <a:pt x="4358541" y="4953487"/>
                  <a:pt x="4376726" y="4911330"/>
                </a:cubicBezTo>
                <a:cubicBezTo>
                  <a:pt x="4446392" y="4838448"/>
                  <a:pt x="4437054" y="4887368"/>
                  <a:pt x="4495294" y="4847795"/>
                </a:cubicBezTo>
                <a:cubicBezTo>
                  <a:pt x="4564961" y="4774914"/>
                  <a:pt x="4531664" y="4763479"/>
                  <a:pt x="4572211" y="4710384"/>
                </a:cubicBezTo>
                <a:cubicBezTo>
                  <a:pt x="4675174" y="4648937"/>
                  <a:pt x="4729237" y="4578144"/>
                  <a:pt x="4769783" y="4525049"/>
                </a:cubicBezTo>
                <a:cubicBezTo>
                  <a:pt x="4810330" y="4471954"/>
                  <a:pt x="4848789" y="4403248"/>
                  <a:pt x="4934059" y="4328278"/>
                </a:cubicBezTo>
                <a:cubicBezTo>
                  <a:pt x="4965268" y="4324103"/>
                  <a:pt x="4994388" y="4304317"/>
                  <a:pt x="4982961" y="4337626"/>
                </a:cubicBezTo>
                <a:cubicBezTo>
                  <a:pt x="5031832" y="4287389"/>
                  <a:pt x="5074006" y="4239041"/>
                  <a:pt x="5112069" y="4191493"/>
                </a:cubicBezTo>
                <a:close/>
                <a:moveTo>
                  <a:pt x="1421611" y="2211251"/>
                </a:moveTo>
                <a:lnTo>
                  <a:pt x="1365366" y="2295734"/>
                </a:lnTo>
                <a:lnTo>
                  <a:pt x="1342943" y="2329145"/>
                </a:lnTo>
                <a:lnTo>
                  <a:pt x="1346081" y="2326178"/>
                </a:lnTo>
                <a:cubicBezTo>
                  <a:pt x="1369478" y="2303601"/>
                  <a:pt x="1381483" y="2267561"/>
                  <a:pt x="1416062" y="2254923"/>
                </a:cubicBezTo>
                <a:cubicBezTo>
                  <a:pt x="1426414" y="2250780"/>
                  <a:pt x="1429104" y="2236489"/>
                  <a:pt x="1424962" y="2226134"/>
                </a:cubicBezTo>
                <a:close/>
                <a:moveTo>
                  <a:pt x="1507160" y="2090249"/>
                </a:moveTo>
                <a:lnTo>
                  <a:pt x="1456732" y="2158498"/>
                </a:lnTo>
                <a:lnTo>
                  <a:pt x="1438688" y="2185602"/>
                </a:lnTo>
                <a:lnTo>
                  <a:pt x="1453739" y="2174973"/>
                </a:lnTo>
                <a:cubicBezTo>
                  <a:pt x="1467196" y="2163579"/>
                  <a:pt x="1506954" y="2178903"/>
                  <a:pt x="1497217" y="2133545"/>
                </a:cubicBezTo>
                <a:cubicBezTo>
                  <a:pt x="1494939" y="2124848"/>
                  <a:pt x="1502288" y="2114698"/>
                  <a:pt x="1506065" y="2103875"/>
                </a:cubicBezTo>
                <a:close/>
                <a:moveTo>
                  <a:pt x="2705909" y="892212"/>
                </a:moveTo>
                <a:cubicBezTo>
                  <a:pt x="2635088" y="932168"/>
                  <a:pt x="2527384" y="1038015"/>
                  <a:pt x="2531391" y="1067958"/>
                </a:cubicBezTo>
                <a:lnTo>
                  <a:pt x="2527236" y="1071711"/>
                </a:lnTo>
                <a:lnTo>
                  <a:pt x="2540897" y="1082319"/>
                </a:lnTo>
                <a:cubicBezTo>
                  <a:pt x="2563518" y="1093016"/>
                  <a:pt x="2587723" y="1084769"/>
                  <a:pt x="2608179" y="1057301"/>
                </a:cubicBezTo>
                <a:cubicBezTo>
                  <a:pt x="2608179" y="1057301"/>
                  <a:pt x="2608400" y="1053087"/>
                  <a:pt x="2608400" y="1053087"/>
                </a:cubicBezTo>
                <a:cubicBezTo>
                  <a:pt x="2623699" y="1023236"/>
                  <a:pt x="2641772" y="995909"/>
                  <a:pt x="2661800" y="970335"/>
                </a:cubicBezTo>
                <a:lnTo>
                  <a:pt x="2701077" y="926778"/>
                </a:lnTo>
                <a:lnTo>
                  <a:pt x="2690340" y="932395"/>
                </a:lnTo>
                <a:cubicBezTo>
                  <a:pt x="2685228" y="936889"/>
                  <a:pt x="2681987" y="941132"/>
                  <a:pt x="2681987" y="941132"/>
                </a:cubicBezTo>
                <a:cubicBezTo>
                  <a:pt x="2665019" y="928163"/>
                  <a:pt x="2679984" y="926160"/>
                  <a:pt x="2692947" y="909186"/>
                </a:cubicBezTo>
                <a:cubicBezTo>
                  <a:pt x="2692947" y="909186"/>
                  <a:pt x="2692947" y="909186"/>
                  <a:pt x="2705909" y="892212"/>
                </a:cubicBezTo>
                <a:close/>
                <a:moveTo>
                  <a:pt x="4540121" y="0"/>
                </a:moveTo>
                <a:cubicBezTo>
                  <a:pt x="4561196" y="1103"/>
                  <a:pt x="4619788" y="92954"/>
                  <a:pt x="4614250" y="118030"/>
                </a:cubicBezTo>
                <a:cubicBezTo>
                  <a:pt x="4583663" y="217897"/>
                  <a:pt x="4553078" y="317761"/>
                  <a:pt x="4522491" y="417627"/>
                </a:cubicBezTo>
                <a:cubicBezTo>
                  <a:pt x="4512739" y="442482"/>
                  <a:pt x="4494996" y="458465"/>
                  <a:pt x="4470146" y="448710"/>
                </a:cubicBezTo>
                <a:cubicBezTo>
                  <a:pt x="4441081" y="438732"/>
                  <a:pt x="4455051" y="414097"/>
                  <a:pt x="4460369" y="393237"/>
                </a:cubicBezTo>
                <a:cubicBezTo>
                  <a:pt x="4461251" y="376371"/>
                  <a:pt x="4474780" y="360168"/>
                  <a:pt x="4471888" y="334651"/>
                </a:cubicBezTo>
                <a:cubicBezTo>
                  <a:pt x="4401138" y="394365"/>
                  <a:pt x="4372095" y="464716"/>
                  <a:pt x="4346608" y="547938"/>
                </a:cubicBezTo>
                <a:cubicBezTo>
                  <a:pt x="4389640" y="533279"/>
                  <a:pt x="4395401" y="503987"/>
                  <a:pt x="4409589" y="475135"/>
                </a:cubicBezTo>
                <a:cubicBezTo>
                  <a:pt x="4414468" y="462707"/>
                  <a:pt x="4423338" y="454715"/>
                  <a:pt x="4439977" y="459814"/>
                </a:cubicBezTo>
                <a:cubicBezTo>
                  <a:pt x="4456618" y="464913"/>
                  <a:pt x="4468822" y="474006"/>
                  <a:pt x="4472154" y="491091"/>
                </a:cubicBezTo>
                <a:cubicBezTo>
                  <a:pt x="4475267" y="512394"/>
                  <a:pt x="4462621" y="511732"/>
                  <a:pt x="4449975" y="511071"/>
                </a:cubicBezTo>
                <a:cubicBezTo>
                  <a:pt x="4424243" y="518179"/>
                  <a:pt x="4423581" y="530826"/>
                  <a:pt x="4431129" y="548132"/>
                </a:cubicBezTo>
                <a:cubicBezTo>
                  <a:pt x="4454656" y="583187"/>
                  <a:pt x="4440465" y="612038"/>
                  <a:pt x="4430269" y="645326"/>
                </a:cubicBezTo>
                <a:cubicBezTo>
                  <a:pt x="4424952" y="666188"/>
                  <a:pt x="4416299" y="669964"/>
                  <a:pt x="4395666" y="660427"/>
                </a:cubicBezTo>
                <a:cubicBezTo>
                  <a:pt x="4375032" y="650893"/>
                  <a:pt x="4373488" y="680406"/>
                  <a:pt x="4373488" y="680406"/>
                </a:cubicBezTo>
                <a:cubicBezTo>
                  <a:pt x="4422966" y="704132"/>
                  <a:pt x="4399243" y="753625"/>
                  <a:pt x="4414559" y="784020"/>
                </a:cubicBezTo>
                <a:cubicBezTo>
                  <a:pt x="4418552" y="788458"/>
                  <a:pt x="4418552" y="788458"/>
                  <a:pt x="4422767" y="788678"/>
                </a:cubicBezTo>
                <a:cubicBezTo>
                  <a:pt x="4448720" y="777354"/>
                  <a:pt x="4424311" y="759165"/>
                  <a:pt x="4429411" y="742520"/>
                </a:cubicBezTo>
                <a:cubicBezTo>
                  <a:pt x="4430294" y="725655"/>
                  <a:pt x="4439163" y="717665"/>
                  <a:pt x="4451809" y="718327"/>
                </a:cubicBezTo>
                <a:cubicBezTo>
                  <a:pt x="4464455" y="718989"/>
                  <a:pt x="4468229" y="727641"/>
                  <a:pt x="4467567" y="740289"/>
                </a:cubicBezTo>
                <a:cubicBezTo>
                  <a:pt x="4473347" y="791325"/>
                  <a:pt x="4449846" y="836601"/>
                  <a:pt x="4442321" y="899623"/>
                </a:cubicBezTo>
                <a:cubicBezTo>
                  <a:pt x="4482683" y="855230"/>
                  <a:pt x="4513954" y="823044"/>
                  <a:pt x="4556766" y="812602"/>
                </a:cubicBezTo>
                <a:cubicBezTo>
                  <a:pt x="4565418" y="808826"/>
                  <a:pt x="4570294" y="796399"/>
                  <a:pt x="4566521" y="787747"/>
                </a:cubicBezTo>
                <a:cubicBezTo>
                  <a:pt x="4556523" y="736490"/>
                  <a:pt x="4595782" y="713176"/>
                  <a:pt x="4618624" y="680552"/>
                </a:cubicBezTo>
                <a:cubicBezTo>
                  <a:pt x="4660531" y="606643"/>
                  <a:pt x="4749267" y="607061"/>
                  <a:pt x="4803157" y="546465"/>
                </a:cubicBezTo>
                <a:cubicBezTo>
                  <a:pt x="4821340" y="522049"/>
                  <a:pt x="4850405" y="532027"/>
                  <a:pt x="4865500" y="566639"/>
                </a:cubicBezTo>
                <a:cubicBezTo>
                  <a:pt x="4888144" y="618555"/>
                  <a:pt x="4928086" y="662925"/>
                  <a:pt x="4903482" y="729279"/>
                </a:cubicBezTo>
                <a:cubicBezTo>
                  <a:pt x="4897944" y="754358"/>
                  <a:pt x="4921908" y="780978"/>
                  <a:pt x="4937665" y="802942"/>
                </a:cubicBezTo>
                <a:cubicBezTo>
                  <a:pt x="4965405" y="838216"/>
                  <a:pt x="4968076" y="867949"/>
                  <a:pt x="4940801" y="904573"/>
                </a:cubicBezTo>
                <a:cubicBezTo>
                  <a:pt x="4926831" y="929208"/>
                  <a:pt x="4903991" y="961834"/>
                  <a:pt x="4928178" y="984237"/>
                </a:cubicBezTo>
                <a:cubicBezTo>
                  <a:pt x="4960574" y="1011301"/>
                  <a:pt x="4991183" y="991763"/>
                  <a:pt x="5017798" y="967790"/>
                </a:cubicBezTo>
                <a:cubicBezTo>
                  <a:pt x="5083891" y="916287"/>
                  <a:pt x="5149985" y="864787"/>
                  <a:pt x="5223627" y="830590"/>
                </a:cubicBezTo>
                <a:cubicBezTo>
                  <a:pt x="5249580" y="819266"/>
                  <a:pt x="5266440" y="820148"/>
                  <a:pt x="5273324" y="850102"/>
                </a:cubicBezTo>
                <a:cubicBezTo>
                  <a:pt x="5272662" y="862749"/>
                  <a:pt x="5276438" y="871405"/>
                  <a:pt x="5288860" y="876281"/>
                </a:cubicBezTo>
                <a:cubicBezTo>
                  <a:pt x="5346548" y="904667"/>
                  <a:pt x="5347453" y="968131"/>
                  <a:pt x="5291114" y="994777"/>
                </a:cubicBezTo>
                <a:cubicBezTo>
                  <a:pt x="5226122" y="1025198"/>
                  <a:pt x="5172673" y="1077360"/>
                  <a:pt x="5099915" y="1094692"/>
                </a:cubicBezTo>
                <a:cubicBezTo>
                  <a:pt x="5082834" y="1098027"/>
                  <a:pt x="5073741" y="1110234"/>
                  <a:pt x="5072638" y="1131316"/>
                </a:cubicBezTo>
                <a:cubicBezTo>
                  <a:pt x="5066438" y="1169039"/>
                  <a:pt x="5032055" y="1179925"/>
                  <a:pt x="4999438" y="1157078"/>
                </a:cubicBezTo>
                <a:cubicBezTo>
                  <a:pt x="4987013" y="1152201"/>
                  <a:pt x="4974808" y="1143107"/>
                  <a:pt x="4965718" y="1155314"/>
                </a:cubicBezTo>
                <a:cubicBezTo>
                  <a:pt x="4952410" y="1167301"/>
                  <a:pt x="4960400" y="1176175"/>
                  <a:pt x="4968387" y="1185048"/>
                </a:cubicBezTo>
                <a:cubicBezTo>
                  <a:pt x="4988580" y="1203016"/>
                  <a:pt x="4983704" y="1215443"/>
                  <a:pt x="4962187" y="1222775"/>
                </a:cubicBezTo>
                <a:cubicBezTo>
                  <a:pt x="4914497" y="1245644"/>
                  <a:pt x="4960863" y="1248071"/>
                  <a:pt x="4968630" y="1261160"/>
                </a:cubicBezTo>
                <a:cubicBezTo>
                  <a:pt x="4942238" y="1280918"/>
                  <a:pt x="4912070" y="1292022"/>
                  <a:pt x="4897659" y="1325090"/>
                </a:cubicBezTo>
                <a:cubicBezTo>
                  <a:pt x="4892562" y="1341734"/>
                  <a:pt x="4866170" y="1361493"/>
                  <a:pt x="4890576" y="1379681"/>
                </a:cubicBezTo>
                <a:cubicBezTo>
                  <a:pt x="4910768" y="1397647"/>
                  <a:pt x="4943606" y="1416277"/>
                  <a:pt x="4970001" y="1396521"/>
                </a:cubicBezTo>
                <a:cubicBezTo>
                  <a:pt x="5001052" y="1368552"/>
                  <a:pt x="5052294" y="1358548"/>
                  <a:pt x="5066042" y="1338131"/>
                </a:cubicBezTo>
                <a:cubicBezTo>
                  <a:pt x="5098856" y="1276431"/>
                  <a:pt x="5162965" y="1262875"/>
                  <a:pt x="5203548" y="1214266"/>
                </a:cubicBezTo>
                <a:cubicBezTo>
                  <a:pt x="5253223" y="1153449"/>
                  <a:pt x="5334633" y="1132344"/>
                  <a:pt x="5384308" y="1071528"/>
                </a:cubicBezTo>
                <a:cubicBezTo>
                  <a:pt x="5393179" y="1063534"/>
                  <a:pt x="5410039" y="1064417"/>
                  <a:pt x="5422686" y="1065079"/>
                </a:cubicBezTo>
                <a:cubicBezTo>
                  <a:pt x="5443980" y="1061965"/>
                  <a:pt x="5473266" y="1067726"/>
                  <a:pt x="5458392" y="1028897"/>
                </a:cubicBezTo>
                <a:cubicBezTo>
                  <a:pt x="5454839" y="1016028"/>
                  <a:pt x="5467925" y="1008258"/>
                  <a:pt x="5476575" y="1004483"/>
                </a:cubicBezTo>
                <a:cubicBezTo>
                  <a:pt x="5561979" y="987813"/>
                  <a:pt x="5599893" y="909469"/>
                  <a:pt x="5665325" y="870617"/>
                </a:cubicBezTo>
                <a:cubicBezTo>
                  <a:pt x="5757150" y="812005"/>
                  <a:pt x="5817685" y="705252"/>
                  <a:pt x="5929480" y="668826"/>
                </a:cubicBezTo>
                <a:cubicBezTo>
                  <a:pt x="5946561" y="665491"/>
                  <a:pt x="5959870" y="653505"/>
                  <a:pt x="5977391" y="641737"/>
                </a:cubicBezTo>
                <a:cubicBezTo>
                  <a:pt x="5993369" y="659484"/>
                  <a:pt x="5992266" y="680566"/>
                  <a:pt x="6012458" y="698534"/>
                </a:cubicBezTo>
                <a:cubicBezTo>
                  <a:pt x="6049070" y="725816"/>
                  <a:pt x="6054190" y="789499"/>
                  <a:pt x="6022477" y="830120"/>
                </a:cubicBezTo>
                <a:cubicBezTo>
                  <a:pt x="5995644" y="858310"/>
                  <a:pt x="5956604" y="877405"/>
                  <a:pt x="5954177" y="923784"/>
                </a:cubicBezTo>
                <a:cubicBezTo>
                  <a:pt x="5953294" y="940649"/>
                  <a:pt x="5932219" y="939546"/>
                  <a:pt x="5919354" y="943099"/>
                </a:cubicBezTo>
                <a:cubicBezTo>
                  <a:pt x="5881197" y="945331"/>
                  <a:pt x="5854585" y="969303"/>
                  <a:pt x="5827969" y="993278"/>
                </a:cubicBezTo>
                <a:cubicBezTo>
                  <a:pt x="5805792" y="1013258"/>
                  <a:pt x="5796697" y="1025464"/>
                  <a:pt x="5820886" y="1047868"/>
                </a:cubicBezTo>
                <a:cubicBezTo>
                  <a:pt x="5828874" y="1056742"/>
                  <a:pt x="5832429" y="1069611"/>
                  <a:pt x="5823556" y="1077603"/>
                </a:cubicBezTo>
                <a:cubicBezTo>
                  <a:pt x="5810028" y="1093807"/>
                  <a:pt x="5798047" y="1080495"/>
                  <a:pt x="5790056" y="1071622"/>
                </a:cubicBezTo>
                <a:cubicBezTo>
                  <a:pt x="5757660" y="1044559"/>
                  <a:pt x="5739917" y="1060541"/>
                  <a:pt x="5725727" y="1089395"/>
                </a:cubicBezTo>
                <a:cubicBezTo>
                  <a:pt x="5683821" y="1163301"/>
                  <a:pt x="5637918" y="1232769"/>
                  <a:pt x="5575820" y="1288707"/>
                </a:cubicBezTo>
                <a:cubicBezTo>
                  <a:pt x="5548984" y="1316899"/>
                  <a:pt x="5571628" y="1368816"/>
                  <a:pt x="5520164" y="1383033"/>
                </a:cubicBezTo>
                <a:cubicBezTo>
                  <a:pt x="5515950" y="1382813"/>
                  <a:pt x="5523496" y="1400119"/>
                  <a:pt x="5527489" y="1404557"/>
                </a:cubicBezTo>
                <a:cubicBezTo>
                  <a:pt x="5543468" y="1422304"/>
                  <a:pt x="5560327" y="1423186"/>
                  <a:pt x="5577629" y="1415637"/>
                </a:cubicBezTo>
                <a:cubicBezTo>
                  <a:pt x="5590495" y="1412083"/>
                  <a:pt x="5612011" y="1404751"/>
                  <a:pt x="5600251" y="1387225"/>
                </a:cubicBezTo>
                <a:cubicBezTo>
                  <a:pt x="5589148" y="1357050"/>
                  <a:pt x="5610665" y="1349722"/>
                  <a:pt x="5628408" y="1333739"/>
                </a:cubicBezTo>
                <a:cubicBezTo>
                  <a:pt x="5689847" y="1290449"/>
                  <a:pt x="5763046" y="1264686"/>
                  <a:pt x="5808728" y="1199431"/>
                </a:cubicBezTo>
                <a:cubicBezTo>
                  <a:pt x="5822475" y="1179012"/>
                  <a:pt x="5838894" y="1188328"/>
                  <a:pt x="5855534" y="1193424"/>
                </a:cubicBezTo>
                <a:cubicBezTo>
                  <a:pt x="5888371" y="1212054"/>
                  <a:pt x="5910110" y="1200509"/>
                  <a:pt x="5932730" y="1172099"/>
                </a:cubicBezTo>
                <a:cubicBezTo>
                  <a:pt x="5968877" y="1127486"/>
                  <a:pt x="5998382" y="1129030"/>
                  <a:pt x="6029455" y="1181389"/>
                </a:cubicBezTo>
                <a:cubicBezTo>
                  <a:pt x="6045212" y="1203351"/>
                  <a:pt x="6050309" y="1186707"/>
                  <a:pt x="6058961" y="1182933"/>
                </a:cubicBezTo>
                <a:cubicBezTo>
                  <a:pt x="6102876" y="1151410"/>
                  <a:pt x="6146792" y="1119885"/>
                  <a:pt x="6186713" y="1083924"/>
                </a:cubicBezTo>
                <a:cubicBezTo>
                  <a:pt x="6270771" y="1012223"/>
                  <a:pt x="6366810" y="953833"/>
                  <a:pt x="6438885" y="868823"/>
                </a:cubicBezTo>
                <a:cubicBezTo>
                  <a:pt x="6484346" y="807785"/>
                  <a:pt x="6557987" y="773589"/>
                  <a:pt x="6623641" y="730519"/>
                </a:cubicBezTo>
                <a:cubicBezTo>
                  <a:pt x="6645598" y="714757"/>
                  <a:pt x="6654470" y="706767"/>
                  <a:pt x="6660010" y="681689"/>
                </a:cubicBezTo>
                <a:cubicBezTo>
                  <a:pt x="6669764" y="656834"/>
                  <a:pt x="6672412" y="606238"/>
                  <a:pt x="6725441" y="642837"/>
                </a:cubicBezTo>
                <a:cubicBezTo>
                  <a:pt x="6737646" y="651929"/>
                  <a:pt x="6755168" y="640164"/>
                  <a:pt x="6751613" y="627295"/>
                </a:cubicBezTo>
                <a:cubicBezTo>
                  <a:pt x="6733627" y="567165"/>
                  <a:pt x="6784870" y="557163"/>
                  <a:pt x="6811706" y="528973"/>
                </a:cubicBezTo>
                <a:cubicBezTo>
                  <a:pt x="6833884" y="508996"/>
                  <a:pt x="6855841" y="493234"/>
                  <a:pt x="6877801" y="477473"/>
                </a:cubicBezTo>
                <a:cubicBezTo>
                  <a:pt x="6921274" y="454379"/>
                  <a:pt x="6937693" y="463695"/>
                  <a:pt x="6939481" y="510294"/>
                </a:cubicBezTo>
                <a:cubicBezTo>
                  <a:pt x="6943035" y="523163"/>
                  <a:pt x="6938378" y="531376"/>
                  <a:pt x="6950581" y="540469"/>
                </a:cubicBezTo>
                <a:cubicBezTo>
                  <a:pt x="6995844" y="563977"/>
                  <a:pt x="7014713" y="607241"/>
                  <a:pt x="6983000" y="647858"/>
                </a:cubicBezTo>
                <a:cubicBezTo>
                  <a:pt x="6932665" y="721326"/>
                  <a:pt x="6882326" y="794791"/>
                  <a:pt x="6803806" y="841415"/>
                </a:cubicBezTo>
                <a:cubicBezTo>
                  <a:pt x="6782070" y="852961"/>
                  <a:pt x="6760334" y="864505"/>
                  <a:pt x="6750800" y="885146"/>
                </a:cubicBezTo>
                <a:cubicBezTo>
                  <a:pt x="6703575" y="979914"/>
                  <a:pt x="6627725" y="1056272"/>
                  <a:pt x="6556314" y="1128634"/>
                </a:cubicBezTo>
                <a:cubicBezTo>
                  <a:pt x="6516392" y="1164593"/>
                  <a:pt x="6480465" y="1204992"/>
                  <a:pt x="6498231" y="1269339"/>
                </a:cubicBezTo>
                <a:cubicBezTo>
                  <a:pt x="6501342" y="1290638"/>
                  <a:pt x="6487595" y="1311059"/>
                  <a:pt x="6469852" y="1327041"/>
                </a:cubicBezTo>
                <a:cubicBezTo>
                  <a:pt x="6461200" y="1330816"/>
                  <a:pt x="6456545" y="1339027"/>
                  <a:pt x="6464533" y="1347902"/>
                </a:cubicBezTo>
                <a:cubicBezTo>
                  <a:pt x="6472743" y="1352558"/>
                  <a:pt x="6481171" y="1352999"/>
                  <a:pt x="6485609" y="1349005"/>
                </a:cubicBezTo>
                <a:cubicBezTo>
                  <a:pt x="6534620" y="1300836"/>
                  <a:pt x="6579420" y="1252448"/>
                  <a:pt x="6644411" y="1222027"/>
                </a:cubicBezTo>
                <a:cubicBezTo>
                  <a:pt x="6675217" y="1117945"/>
                  <a:pt x="6783022" y="1077082"/>
                  <a:pt x="6838236" y="991187"/>
                </a:cubicBezTo>
                <a:cubicBezTo>
                  <a:pt x="6842671" y="987193"/>
                  <a:pt x="6842892" y="982976"/>
                  <a:pt x="6847327" y="978980"/>
                </a:cubicBezTo>
                <a:cubicBezTo>
                  <a:pt x="6869066" y="967435"/>
                  <a:pt x="6883695" y="930149"/>
                  <a:pt x="6916313" y="952996"/>
                </a:cubicBezTo>
                <a:cubicBezTo>
                  <a:pt x="6948929" y="975843"/>
                  <a:pt x="6926310" y="1004253"/>
                  <a:pt x="6916557" y="1029108"/>
                </a:cubicBezTo>
                <a:cubicBezTo>
                  <a:pt x="6906140" y="1066614"/>
                  <a:pt x="6883301" y="1099241"/>
                  <a:pt x="6852471" y="1122993"/>
                </a:cubicBezTo>
                <a:cubicBezTo>
                  <a:pt x="6789928" y="1187365"/>
                  <a:pt x="6751795" y="1269925"/>
                  <a:pt x="6693469" y="1334515"/>
                </a:cubicBezTo>
                <a:cubicBezTo>
                  <a:pt x="6675506" y="1354715"/>
                  <a:pt x="6699253" y="1385551"/>
                  <a:pt x="6685063" y="1414403"/>
                </a:cubicBezTo>
                <a:cubicBezTo>
                  <a:pt x="6675088" y="1443475"/>
                  <a:pt x="6673543" y="1472990"/>
                  <a:pt x="6719467" y="1483848"/>
                </a:cubicBezTo>
                <a:cubicBezTo>
                  <a:pt x="6744538" y="1489389"/>
                  <a:pt x="6734562" y="1518460"/>
                  <a:pt x="6725030" y="1539101"/>
                </a:cubicBezTo>
                <a:cubicBezTo>
                  <a:pt x="6715716" y="1555523"/>
                  <a:pt x="6702629" y="1563295"/>
                  <a:pt x="6686430" y="1549764"/>
                </a:cubicBezTo>
                <a:cubicBezTo>
                  <a:pt x="6678443" y="1540889"/>
                  <a:pt x="6666460" y="1527580"/>
                  <a:pt x="6648717" y="1543562"/>
                </a:cubicBezTo>
                <a:cubicBezTo>
                  <a:pt x="6652931" y="1543783"/>
                  <a:pt x="6656706" y="1552435"/>
                  <a:pt x="6656706" y="1552435"/>
                </a:cubicBezTo>
                <a:cubicBezTo>
                  <a:pt x="6717283" y="1606338"/>
                  <a:pt x="6711303" y="1639848"/>
                  <a:pt x="6642098" y="1670048"/>
                </a:cubicBezTo>
                <a:cubicBezTo>
                  <a:pt x="6620360" y="1681594"/>
                  <a:pt x="6582868" y="1671177"/>
                  <a:pt x="6577326" y="1696254"/>
                </a:cubicBezTo>
                <a:cubicBezTo>
                  <a:pt x="6566249" y="1746406"/>
                  <a:pt x="6538310" y="1795678"/>
                  <a:pt x="6544095" y="1846714"/>
                </a:cubicBezTo>
                <a:cubicBezTo>
                  <a:pt x="6547206" y="1868014"/>
                  <a:pt x="6554754" y="1885320"/>
                  <a:pt x="6537011" y="1901303"/>
                </a:cubicBezTo>
                <a:cubicBezTo>
                  <a:pt x="6510175" y="1929493"/>
                  <a:pt x="6539240" y="1939471"/>
                  <a:pt x="6555879" y="1944567"/>
                </a:cubicBezTo>
                <a:cubicBezTo>
                  <a:pt x="6584944" y="1954545"/>
                  <a:pt x="6629962" y="1901939"/>
                  <a:pt x="6623078" y="1871985"/>
                </a:cubicBezTo>
                <a:cubicBezTo>
                  <a:pt x="6615749" y="1850464"/>
                  <a:pt x="6616411" y="1837814"/>
                  <a:pt x="6634154" y="1821831"/>
                </a:cubicBezTo>
                <a:cubicBezTo>
                  <a:pt x="6651897" y="1805849"/>
                  <a:pt x="6690935" y="1786755"/>
                  <a:pt x="6641457" y="1763026"/>
                </a:cubicBezTo>
                <a:cubicBezTo>
                  <a:pt x="6633250" y="1758367"/>
                  <a:pt x="6637905" y="1750156"/>
                  <a:pt x="6642561" y="1741943"/>
                </a:cubicBezTo>
                <a:cubicBezTo>
                  <a:pt x="6677384" y="1722629"/>
                  <a:pt x="6696255" y="1765893"/>
                  <a:pt x="6730196" y="1763441"/>
                </a:cubicBezTo>
                <a:cubicBezTo>
                  <a:pt x="6747056" y="1764323"/>
                  <a:pt x="6733307" y="1784744"/>
                  <a:pt x="6728210" y="1801388"/>
                </a:cubicBezTo>
                <a:cubicBezTo>
                  <a:pt x="6718014" y="1834677"/>
                  <a:pt x="6682749" y="1862424"/>
                  <a:pt x="6701837" y="1901474"/>
                </a:cubicBezTo>
                <a:cubicBezTo>
                  <a:pt x="6705834" y="1905909"/>
                  <a:pt x="6701175" y="1914123"/>
                  <a:pt x="6696741" y="1918119"/>
                </a:cubicBezTo>
                <a:cubicBezTo>
                  <a:pt x="6622658" y="1960747"/>
                  <a:pt x="6642873" y="2059044"/>
                  <a:pt x="6589424" y="2111206"/>
                </a:cubicBezTo>
                <a:cubicBezTo>
                  <a:pt x="6576118" y="2123193"/>
                  <a:pt x="6571018" y="2139837"/>
                  <a:pt x="6557714" y="2151823"/>
                </a:cubicBezTo>
                <a:cubicBezTo>
                  <a:pt x="6513796" y="2183348"/>
                  <a:pt x="6490515" y="2224409"/>
                  <a:pt x="6467011" y="2269684"/>
                </a:cubicBezTo>
                <a:cubicBezTo>
                  <a:pt x="6462135" y="2282111"/>
                  <a:pt x="6453264" y="2290102"/>
                  <a:pt x="6448386" y="2302532"/>
                </a:cubicBezTo>
                <a:cubicBezTo>
                  <a:pt x="6446842" y="2332044"/>
                  <a:pt x="6358989" y="2314764"/>
                  <a:pt x="6410695" y="2376658"/>
                </a:cubicBezTo>
                <a:cubicBezTo>
                  <a:pt x="6430447" y="2403058"/>
                  <a:pt x="6424244" y="2440784"/>
                  <a:pt x="6456420" y="2472061"/>
                </a:cubicBezTo>
                <a:cubicBezTo>
                  <a:pt x="6492592" y="2507777"/>
                  <a:pt x="6498373" y="2558813"/>
                  <a:pt x="6466440" y="2603647"/>
                </a:cubicBezTo>
                <a:cubicBezTo>
                  <a:pt x="6379736" y="2725942"/>
                  <a:pt x="6297025" y="2852672"/>
                  <a:pt x="6189907" y="2961216"/>
                </a:cubicBezTo>
                <a:cubicBezTo>
                  <a:pt x="6154200" y="2997398"/>
                  <a:pt x="6114279" y="3033360"/>
                  <a:pt x="6082567" y="3073977"/>
                </a:cubicBezTo>
                <a:cubicBezTo>
                  <a:pt x="6059727" y="3106604"/>
                  <a:pt x="6012478" y="3121043"/>
                  <a:pt x="5977654" y="3140358"/>
                </a:cubicBezTo>
                <a:cubicBezTo>
                  <a:pt x="5960353" y="3147910"/>
                  <a:pt x="5947045" y="3159895"/>
                  <a:pt x="5941728" y="3180757"/>
                </a:cubicBezTo>
                <a:cubicBezTo>
                  <a:pt x="5908251" y="3255104"/>
                  <a:pt x="5866785" y="3320579"/>
                  <a:pt x="5812234" y="3393823"/>
                </a:cubicBezTo>
                <a:cubicBezTo>
                  <a:pt x="5845733" y="3399804"/>
                  <a:pt x="5874797" y="3409780"/>
                  <a:pt x="5904080" y="3415541"/>
                </a:cubicBezTo>
                <a:cubicBezTo>
                  <a:pt x="5920720" y="3420640"/>
                  <a:pt x="5937800" y="3417306"/>
                  <a:pt x="5942679" y="3404878"/>
                </a:cubicBezTo>
                <a:cubicBezTo>
                  <a:pt x="5963070" y="3338300"/>
                  <a:pt x="6057344" y="3313640"/>
                  <a:pt x="6049112" y="3228653"/>
                </a:cubicBezTo>
                <a:cubicBezTo>
                  <a:pt x="6092366" y="3209777"/>
                  <a:pt x="6071929" y="3115698"/>
                  <a:pt x="6159785" y="3132978"/>
                </a:cubicBezTo>
                <a:cubicBezTo>
                  <a:pt x="6184854" y="3138518"/>
                  <a:pt x="6191276" y="3096578"/>
                  <a:pt x="6213234" y="3080816"/>
                </a:cubicBezTo>
                <a:cubicBezTo>
                  <a:pt x="6301065" y="3017768"/>
                  <a:pt x="6348069" y="2927217"/>
                  <a:pt x="6370445" y="2822695"/>
                </a:cubicBezTo>
                <a:cubicBezTo>
                  <a:pt x="6380641" y="2789407"/>
                  <a:pt x="6398384" y="2773423"/>
                  <a:pt x="6432104" y="2775188"/>
                </a:cubicBezTo>
                <a:cubicBezTo>
                  <a:pt x="6454745" y="2827107"/>
                  <a:pt x="6439676" y="2872823"/>
                  <a:pt x="6407522" y="2921874"/>
                </a:cubicBezTo>
                <a:cubicBezTo>
                  <a:pt x="6366497" y="2978915"/>
                  <a:pt x="6354095" y="3054365"/>
                  <a:pt x="6329489" y="3120722"/>
                </a:cubicBezTo>
                <a:cubicBezTo>
                  <a:pt x="6314197" y="3170655"/>
                  <a:pt x="6291136" y="3207497"/>
                  <a:pt x="6243225" y="3234583"/>
                </a:cubicBezTo>
                <a:cubicBezTo>
                  <a:pt x="6182230" y="3269442"/>
                  <a:pt x="6157181" y="3344230"/>
                  <a:pt x="6099959" y="3387741"/>
                </a:cubicBezTo>
                <a:cubicBezTo>
                  <a:pt x="6095303" y="3395954"/>
                  <a:pt x="6090425" y="3408382"/>
                  <a:pt x="6081996" y="3407941"/>
                </a:cubicBezTo>
                <a:cubicBezTo>
                  <a:pt x="6018548" y="3408848"/>
                  <a:pt x="6015459" y="3467875"/>
                  <a:pt x="5992399" y="3504717"/>
                </a:cubicBezTo>
                <a:cubicBezTo>
                  <a:pt x="5964902" y="3545556"/>
                  <a:pt x="5925422" y="3573085"/>
                  <a:pt x="5885943" y="3600612"/>
                </a:cubicBezTo>
                <a:cubicBezTo>
                  <a:pt x="5877290" y="3604388"/>
                  <a:pt x="5876849" y="3612820"/>
                  <a:pt x="5880626" y="3621474"/>
                </a:cubicBezTo>
                <a:cubicBezTo>
                  <a:pt x="5879081" y="3650986"/>
                  <a:pt x="5849354" y="3653659"/>
                  <a:pt x="5845802" y="3640788"/>
                </a:cubicBezTo>
                <a:cubicBezTo>
                  <a:pt x="5826710" y="3601741"/>
                  <a:pt x="5808527" y="3626155"/>
                  <a:pt x="5791004" y="3637920"/>
                </a:cubicBezTo>
                <a:cubicBezTo>
                  <a:pt x="5760174" y="3661676"/>
                  <a:pt x="5741108" y="3702955"/>
                  <a:pt x="5698297" y="3713397"/>
                </a:cubicBezTo>
                <a:cubicBezTo>
                  <a:pt x="5685430" y="3716952"/>
                  <a:pt x="5680332" y="3733596"/>
                  <a:pt x="5683886" y="3746465"/>
                </a:cubicBezTo>
                <a:cubicBezTo>
                  <a:pt x="5694766" y="3780856"/>
                  <a:pt x="5673029" y="3792402"/>
                  <a:pt x="5642861" y="3803509"/>
                </a:cubicBezTo>
                <a:cubicBezTo>
                  <a:pt x="5625340" y="3815274"/>
                  <a:pt x="5580077" y="3791765"/>
                  <a:pt x="5585639" y="3847018"/>
                </a:cubicBezTo>
                <a:cubicBezTo>
                  <a:pt x="5588750" y="3868319"/>
                  <a:pt x="5545275" y="3891412"/>
                  <a:pt x="5581668" y="3922911"/>
                </a:cubicBezTo>
                <a:cubicBezTo>
                  <a:pt x="5593870" y="3932003"/>
                  <a:pt x="5576128" y="3947985"/>
                  <a:pt x="5567258" y="3955979"/>
                </a:cubicBezTo>
                <a:cubicBezTo>
                  <a:pt x="5540862" y="3975734"/>
                  <a:pt x="5506700" y="3982403"/>
                  <a:pt x="5496065" y="4024123"/>
                </a:cubicBezTo>
                <a:cubicBezTo>
                  <a:pt x="5490966" y="4040768"/>
                  <a:pt x="5474546" y="4031455"/>
                  <a:pt x="5462345" y="4022359"/>
                </a:cubicBezTo>
                <a:cubicBezTo>
                  <a:pt x="5433943" y="3999733"/>
                  <a:pt x="5401325" y="3976888"/>
                  <a:pt x="5372922" y="3954263"/>
                </a:cubicBezTo>
                <a:lnTo>
                  <a:pt x="5366641" y="3949724"/>
                </a:lnTo>
                <a:lnTo>
                  <a:pt x="5317779" y="3990916"/>
                </a:lnTo>
                <a:cubicBezTo>
                  <a:pt x="5301191" y="4104366"/>
                  <a:pt x="5117133" y="4272003"/>
                  <a:pt x="5038128" y="4393804"/>
                </a:cubicBezTo>
                <a:cubicBezTo>
                  <a:pt x="4995493" y="4431289"/>
                  <a:pt x="4993405" y="4415678"/>
                  <a:pt x="5004831" y="4382369"/>
                </a:cubicBezTo>
                <a:cubicBezTo>
                  <a:pt x="4966373" y="4451075"/>
                  <a:pt x="4894618" y="4508346"/>
                  <a:pt x="4898795" y="4539566"/>
                </a:cubicBezTo>
                <a:cubicBezTo>
                  <a:pt x="4815614" y="4630147"/>
                  <a:pt x="4759461" y="4685330"/>
                  <a:pt x="4718915" y="4738425"/>
                </a:cubicBezTo>
                <a:cubicBezTo>
                  <a:pt x="4662764" y="4793608"/>
                  <a:pt x="4620128" y="4831092"/>
                  <a:pt x="4532769" y="4890452"/>
                </a:cubicBezTo>
                <a:cubicBezTo>
                  <a:pt x="4515075" y="4876928"/>
                  <a:pt x="4544195" y="4857142"/>
                  <a:pt x="4526503" y="4843619"/>
                </a:cubicBezTo>
                <a:cubicBezTo>
                  <a:pt x="4414200" y="4953986"/>
                  <a:pt x="4346622" y="5042477"/>
                  <a:pt x="4247835" y="5135145"/>
                </a:cubicBezTo>
                <a:cubicBezTo>
                  <a:pt x="4187016" y="5214788"/>
                  <a:pt x="4116243" y="5286824"/>
                  <a:pt x="4024115" y="5366186"/>
                </a:cubicBezTo>
                <a:lnTo>
                  <a:pt x="3995623" y="5389730"/>
                </a:lnTo>
                <a:lnTo>
                  <a:pt x="3986163" y="5416368"/>
                </a:lnTo>
                <a:cubicBezTo>
                  <a:pt x="3980621" y="5441443"/>
                  <a:pt x="3966875" y="5461863"/>
                  <a:pt x="3928277" y="5472526"/>
                </a:cubicBezTo>
                <a:cubicBezTo>
                  <a:pt x="3898331" y="5479414"/>
                  <a:pt x="3871054" y="5516037"/>
                  <a:pt x="3844218" y="5544226"/>
                </a:cubicBezTo>
                <a:cubicBezTo>
                  <a:pt x="3826696" y="5555992"/>
                  <a:pt x="3813391" y="5567978"/>
                  <a:pt x="3792093" y="5571093"/>
                </a:cubicBezTo>
                <a:cubicBezTo>
                  <a:pt x="3770798" y="5574206"/>
                  <a:pt x="3720438" y="5567343"/>
                  <a:pt x="3759942" y="5620143"/>
                </a:cubicBezTo>
                <a:cubicBezTo>
                  <a:pt x="3726221" y="5618379"/>
                  <a:pt x="3768613" y="5696696"/>
                  <a:pt x="3706934" y="5663875"/>
                </a:cubicBezTo>
                <a:cubicBezTo>
                  <a:pt x="3706934" y="5663875"/>
                  <a:pt x="3702717" y="5663654"/>
                  <a:pt x="3702497" y="5667870"/>
                </a:cubicBezTo>
                <a:cubicBezTo>
                  <a:pt x="3657037" y="5728908"/>
                  <a:pt x="3552985" y="5698095"/>
                  <a:pt x="3518847" y="5785093"/>
                </a:cubicBezTo>
                <a:cubicBezTo>
                  <a:pt x="3508650" y="5818381"/>
                  <a:pt x="3481816" y="5846570"/>
                  <a:pt x="3488261" y="5884957"/>
                </a:cubicBezTo>
                <a:cubicBezTo>
                  <a:pt x="3491151" y="5910476"/>
                  <a:pt x="3477623" y="5926679"/>
                  <a:pt x="3464095" y="5942882"/>
                </a:cubicBezTo>
                <a:cubicBezTo>
                  <a:pt x="3415082" y="5991051"/>
                  <a:pt x="3369844" y="6047872"/>
                  <a:pt x="3313061" y="6082948"/>
                </a:cubicBezTo>
                <a:cubicBezTo>
                  <a:pt x="3278236" y="6102265"/>
                  <a:pt x="3263829" y="6135334"/>
                  <a:pt x="3245422" y="6163964"/>
                </a:cubicBezTo>
                <a:cubicBezTo>
                  <a:pt x="3226576" y="6201028"/>
                  <a:pt x="3195749" y="6224781"/>
                  <a:pt x="3153375" y="6226792"/>
                </a:cubicBezTo>
                <a:cubicBezTo>
                  <a:pt x="3068633" y="6230812"/>
                  <a:pt x="3007197" y="6274101"/>
                  <a:pt x="2961294" y="6343572"/>
                </a:cubicBezTo>
                <a:cubicBezTo>
                  <a:pt x="2924264" y="6405051"/>
                  <a:pt x="2869029" y="6410615"/>
                  <a:pt x="2810016" y="6407526"/>
                </a:cubicBezTo>
                <a:cubicBezTo>
                  <a:pt x="2776295" y="6405762"/>
                  <a:pt x="2732798" y="6348525"/>
                  <a:pt x="2738338" y="6323448"/>
                </a:cubicBezTo>
                <a:cubicBezTo>
                  <a:pt x="2745200" y="6273075"/>
                  <a:pt x="2745200" y="6273075"/>
                  <a:pt x="2694401" y="6274643"/>
                </a:cubicBezTo>
                <a:cubicBezTo>
                  <a:pt x="2691288" y="6253343"/>
                  <a:pt x="2708370" y="6250008"/>
                  <a:pt x="2721454" y="6242236"/>
                </a:cubicBezTo>
                <a:cubicBezTo>
                  <a:pt x="2725892" y="6238243"/>
                  <a:pt x="2743192" y="6230691"/>
                  <a:pt x="2735202" y="6221819"/>
                </a:cubicBezTo>
                <a:cubicBezTo>
                  <a:pt x="2691044" y="6177228"/>
                  <a:pt x="2744272" y="6129283"/>
                  <a:pt x="2738271" y="6082464"/>
                </a:cubicBezTo>
                <a:cubicBezTo>
                  <a:pt x="2738711" y="6074030"/>
                  <a:pt x="2735159" y="6061161"/>
                  <a:pt x="2735600" y="6052727"/>
                </a:cubicBezTo>
                <a:cubicBezTo>
                  <a:pt x="2714743" y="6047410"/>
                  <a:pt x="2675264" y="6074938"/>
                  <a:pt x="2676367" y="6053856"/>
                </a:cubicBezTo>
                <a:cubicBezTo>
                  <a:pt x="2674580" y="6007257"/>
                  <a:pt x="2626206" y="5962449"/>
                  <a:pt x="2666789" y="5913839"/>
                </a:cubicBezTo>
                <a:cubicBezTo>
                  <a:pt x="2711808" y="5861233"/>
                  <a:pt x="2752833" y="5804192"/>
                  <a:pt x="2777438" y="5737835"/>
                </a:cubicBezTo>
                <a:cubicBezTo>
                  <a:pt x="2782535" y="5721190"/>
                  <a:pt x="2800057" y="5709425"/>
                  <a:pt x="2784079" y="5691678"/>
                </a:cubicBezTo>
                <a:cubicBezTo>
                  <a:pt x="2767881" y="5678147"/>
                  <a:pt x="2742592" y="5676823"/>
                  <a:pt x="2720855" y="5688369"/>
                </a:cubicBezTo>
                <a:cubicBezTo>
                  <a:pt x="2694460" y="5708127"/>
                  <a:pt x="2672284" y="5728106"/>
                  <a:pt x="2653878" y="5756737"/>
                </a:cubicBezTo>
                <a:cubicBezTo>
                  <a:pt x="2621283" y="5814219"/>
                  <a:pt x="2572491" y="5858170"/>
                  <a:pt x="2519482" y="5901902"/>
                </a:cubicBezTo>
                <a:cubicBezTo>
                  <a:pt x="2515047" y="5905898"/>
                  <a:pt x="2510171" y="5918325"/>
                  <a:pt x="2506174" y="5913889"/>
                </a:cubicBezTo>
                <a:cubicBezTo>
                  <a:pt x="2443172" y="5906365"/>
                  <a:pt x="2427658" y="5960513"/>
                  <a:pt x="2400601" y="5992919"/>
                </a:cubicBezTo>
                <a:cubicBezTo>
                  <a:pt x="2273974" y="6151176"/>
                  <a:pt x="2114951" y="6282369"/>
                  <a:pt x="2004743" y="6449939"/>
                </a:cubicBezTo>
                <a:cubicBezTo>
                  <a:pt x="1990994" y="6470360"/>
                  <a:pt x="1977907" y="6478129"/>
                  <a:pt x="1957495" y="6464378"/>
                </a:cubicBezTo>
                <a:cubicBezTo>
                  <a:pt x="1941296" y="6450848"/>
                  <a:pt x="1937744" y="6437978"/>
                  <a:pt x="1947056" y="6421555"/>
                </a:cubicBezTo>
                <a:cubicBezTo>
                  <a:pt x="1970119" y="6384711"/>
                  <a:pt x="1972325" y="6342549"/>
                  <a:pt x="1974311" y="6304603"/>
                </a:cubicBezTo>
                <a:cubicBezTo>
                  <a:pt x="1976959" y="6254008"/>
                  <a:pt x="1995805" y="6216946"/>
                  <a:pt x="2027074" y="6184760"/>
                </a:cubicBezTo>
                <a:cubicBezTo>
                  <a:pt x="2054130" y="6152354"/>
                  <a:pt x="2073196" y="6111075"/>
                  <a:pt x="2092042" y="6074010"/>
                </a:cubicBezTo>
                <a:cubicBezTo>
                  <a:pt x="2115986" y="6020301"/>
                  <a:pt x="2087145" y="6006109"/>
                  <a:pt x="2045655" y="5991255"/>
                </a:cubicBezTo>
                <a:cubicBezTo>
                  <a:pt x="2033008" y="5990593"/>
                  <a:pt x="2016148" y="5989710"/>
                  <a:pt x="2017031" y="5972846"/>
                </a:cubicBezTo>
                <a:cubicBezTo>
                  <a:pt x="2017913" y="5955981"/>
                  <a:pt x="2034553" y="5961080"/>
                  <a:pt x="2043205" y="5957304"/>
                </a:cubicBezTo>
                <a:cubicBezTo>
                  <a:pt x="2073594" y="5941983"/>
                  <a:pt x="2088002" y="5908915"/>
                  <a:pt x="2089326" y="5883619"/>
                </a:cubicBezTo>
                <a:cubicBezTo>
                  <a:pt x="2086878" y="5849669"/>
                  <a:pt x="2048500" y="5856114"/>
                  <a:pt x="2027203" y="5859228"/>
                </a:cubicBezTo>
                <a:cubicBezTo>
                  <a:pt x="1984613" y="5865456"/>
                  <a:pt x="1950009" y="5880556"/>
                  <a:pt x="1930943" y="5921835"/>
                </a:cubicBezTo>
                <a:cubicBezTo>
                  <a:pt x="1926288" y="5930046"/>
                  <a:pt x="1921188" y="5946690"/>
                  <a:pt x="1904328" y="5945808"/>
                </a:cubicBezTo>
                <a:cubicBezTo>
                  <a:pt x="1891684" y="5945146"/>
                  <a:pt x="1892567" y="5928281"/>
                  <a:pt x="1893008" y="5919849"/>
                </a:cubicBezTo>
                <a:cubicBezTo>
                  <a:pt x="1889894" y="5898548"/>
                  <a:pt x="1877251" y="5897886"/>
                  <a:pt x="1860171" y="5901220"/>
                </a:cubicBezTo>
                <a:cubicBezTo>
                  <a:pt x="1791406" y="5922987"/>
                  <a:pt x="1726856" y="5944977"/>
                  <a:pt x="1681174" y="6010231"/>
                </a:cubicBezTo>
                <a:cubicBezTo>
                  <a:pt x="1672082" y="6022438"/>
                  <a:pt x="1661465" y="6033509"/>
                  <a:pt x="1649893" y="6043868"/>
                </a:cubicBezTo>
                <a:lnTo>
                  <a:pt x="1622071" y="6065956"/>
                </a:lnTo>
                <a:lnTo>
                  <a:pt x="1540971" y="6160162"/>
                </a:lnTo>
                <a:cubicBezTo>
                  <a:pt x="1544660" y="6175465"/>
                  <a:pt x="1544660" y="6175465"/>
                  <a:pt x="1544660" y="6175465"/>
                </a:cubicBezTo>
                <a:cubicBezTo>
                  <a:pt x="1544660" y="6175465"/>
                  <a:pt x="1529348" y="6179157"/>
                  <a:pt x="1529348" y="6179157"/>
                </a:cubicBezTo>
                <a:cubicBezTo>
                  <a:pt x="1533038" y="6194462"/>
                  <a:pt x="1506106" y="6217148"/>
                  <a:pt x="1506106" y="6217148"/>
                </a:cubicBezTo>
                <a:cubicBezTo>
                  <a:pt x="1494484" y="6236145"/>
                  <a:pt x="1490795" y="6220840"/>
                  <a:pt x="1502416" y="6201844"/>
                </a:cubicBezTo>
                <a:lnTo>
                  <a:pt x="1501761" y="6194940"/>
                </a:lnTo>
                <a:lnTo>
                  <a:pt x="1514037" y="6182848"/>
                </a:lnTo>
                <a:cubicBezTo>
                  <a:pt x="1506382" y="6184694"/>
                  <a:pt x="1502554" y="6185617"/>
                  <a:pt x="1501102" y="6187991"/>
                </a:cubicBezTo>
                <a:lnTo>
                  <a:pt x="1501761" y="6194940"/>
                </a:lnTo>
                <a:lnTo>
                  <a:pt x="1484784" y="6211661"/>
                </a:lnTo>
                <a:cubicBezTo>
                  <a:pt x="1457624" y="6247055"/>
                  <a:pt x="1435730" y="6294843"/>
                  <a:pt x="1409997" y="6288901"/>
                </a:cubicBezTo>
                <a:cubicBezTo>
                  <a:pt x="1476958" y="6163447"/>
                  <a:pt x="1464022" y="6084581"/>
                  <a:pt x="1511970" y="5984207"/>
                </a:cubicBezTo>
                <a:lnTo>
                  <a:pt x="1538118" y="5938165"/>
                </a:lnTo>
                <a:lnTo>
                  <a:pt x="1548035" y="5889113"/>
                </a:lnTo>
                <a:cubicBezTo>
                  <a:pt x="1559112" y="5838960"/>
                  <a:pt x="1574406" y="5789026"/>
                  <a:pt x="1598127" y="5739534"/>
                </a:cubicBezTo>
                <a:cubicBezTo>
                  <a:pt x="1548210" y="5724239"/>
                  <a:pt x="1509613" y="5734902"/>
                  <a:pt x="1482117" y="5775743"/>
                </a:cubicBezTo>
                <a:cubicBezTo>
                  <a:pt x="1459274" y="5808369"/>
                  <a:pt x="1447291" y="5795057"/>
                  <a:pt x="1436192" y="5764882"/>
                </a:cubicBezTo>
                <a:cubicBezTo>
                  <a:pt x="1420876" y="5734487"/>
                  <a:pt x="1439282" y="5705855"/>
                  <a:pt x="1440826" y="5676343"/>
                </a:cubicBezTo>
                <a:cubicBezTo>
                  <a:pt x="1447026" y="5638616"/>
                  <a:pt x="1457440" y="5601112"/>
                  <a:pt x="1463644" y="5563387"/>
                </a:cubicBezTo>
                <a:cubicBezTo>
                  <a:pt x="1464306" y="5550738"/>
                  <a:pt x="1473617" y="5534314"/>
                  <a:pt x="1461191" y="5529435"/>
                </a:cubicBezTo>
                <a:cubicBezTo>
                  <a:pt x="1444773" y="5520123"/>
                  <a:pt x="1431467" y="5532109"/>
                  <a:pt x="1422596" y="5540099"/>
                </a:cubicBezTo>
                <a:cubicBezTo>
                  <a:pt x="1413725" y="5548091"/>
                  <a:pt x="1404631" y="5560299"/>
                  <a:pt x="1395762" y="5568288"/>
                </a:cubicBezTo>
                <a:cubicBezTo>
                  <a:pt x="1332778" y="5641094"/>
                  <a:pt x="1265360" y="5717893"/>
                  <a:pt x="1198384" y="5786259"/>
                </a:cubicBezTo>
                <a:cubicBezTo>
                  <a:pt x="1167334" y="5814228"/>
                  <a:pt x="1128294" y="5833325"/>
                  <a:pt x="1083475" y="5801385"/>
                </a:cubicBezTo>
                <a:cubicBezTo>
                  <a:pt x="1067276" y="5787855"/>
                  <a:pt x="1045979" y="5790966"/>
                  <a:pt x="1028677" y="5798517"/>
                </a:cubicBezTo>
                <a:cubicBezTo>
                  <a:pt x="1024242" y="5802511"/>
                  <a:pt x="1015593" y="5806287"/>
                  <a:pt x="1011155" y="5810283"/>
                </a:cubicBezTo>
                <a:cubicBezTo>
                  <a:pt x="981651" y="5808739"/>
                  <a:pt x="943494" y="5810970"/>
                  <a:pt x="927957" y="5784790"/>
                </a:cubicBezTo>
                <a:cubicBezTo>
                  <a:pt x="912422" y="5758611"/>
                  <a:pt x="934822" y="5734415"/>
                  <a:pt x="956779" y="5718655"/>
                </a:cubicBezTo>
                <a:cubicBezTo>
                  <a:pt x="1027750" y="5654725"/>
                  <a:pt x="1086517" y="5581701"/>
                  <a:pt x="1129307" y="5490928"/>
                </a:cubicBezTo>
                <a:cubicBezTo>
                  <a:pt x="1143276" y="5466293"/>
                  <a:pt x="1135509" y="5453203"/>
                  <a:pt x="1119531" y="5435456"/>
                </a:cubicBezTo>
                <a:cubicBezTo>
                  <a:pt x="1099557" y="5413272"/>
                  <a:pt x="1085810" y="5433691"/>
                  <a:pt x="1072503" y="5445678"/>
                </a:cubicBezTo>
                <a:cubicBezTo>
                  <a:pt x="1041453" y="5473647"/>
                  <a:pt x="1010402" y="5501616"/>
                  <a:pt x="979575" y="5525371"/>
                </a:cubicBezTo>
                <a:cubicBezTo>
                  <a:pt x="962053" y="5537137"/>
                  <a:pt x="940535" y="5544464"/>
                  <a:pt x="928994" y="5522724"/>
                </a:cubicBezTo>
                <a:cubicBezTo>
                  <a:pt x="917452" y="5500980"/>
                  <a:pt x="946957" y="5502524"/>
                  <a:pt x="960263" y="5490538"/>
                </a:cubicBezTo>
                <a:cubicBezTo>
                  <a:pt x="968915" y="5486762"/>
                  <a:pt x="977785" y="5478772"/>
                  <a:pt x="986437" y="5474996"/>
                </a:cubicBezTo>
                <a:cubicBezTo>
                  <a:pt x="1048315" y="5423273"/>
                  <a:pt x="1048535" y="5419058"/>
                  <a:pt x="969776" y="5389568"/>
                </a:cubicBezTo>
                <a:cubicBezTo>
                  <a:pt x="949140" y="5380034"/>
                  <a:pt x="953797" y="5371821"/>
                  <a:pt x="954680" y="5354956"/>
                </a:cubicBezTo>
                <a:cubicBezTo>
                  <a:pt x="971516" y="5275510"/>
                  <a:pt x="996344" y="5204938"/>
                  <a:pt x="1074861" y="5158314"/>
                </a:cubicBezTo>
                <a:cubicBezTo>
                  <a:pt x="1144950" y="5111247"/>
                  <a:pt x="1198840" y="5050652"/>
                  <a:pt x="1244742" y="4981183"/>
                </a:cubicBezTo>
                <a:cubicBezTo>
                  <a:pt x="1295081" y="4907718"/>
                  <a:pt x="1373818" y="4856877"/>
                  <a:pt x="1412173" y="4770102"/>
                </a:cubicBezTo>
                <a:cubicBezTo>
                  <a:pt x="1417049" y="4757675"/>
                  <a:pt x="1430136" y="4749903"/>
                  <a:pt x="1438788" y="4746127"/>
                </a:cubicBezTo>
                <a:cubicBezTo>
                  <a:pt x="1556787" y="4671975"/>
                  <a:pt x="1646605" y="4570983"/>
                  <a:pt x="1732425" y="4465552"/>
                </a:cubicBezTo>
                <a:cubicBezTo>
                  <a:pt x="1750388" y="4445353"/>
                  <a:pt x="1772789" y="4421159"/>
                  <a:pt x="1748821" y="4394540"/>
                </a:cubicBezTo>
                <a:cubicBezTo>
                  <a:pt x="1725078" y="4363700"/>
                  <a:pt x="1698683" y="4383458"/>
                  <a:pt x="1672290" y="4403217"/>
                </a:cubicBezTo>
                <a:cubicBezTo>
                  <a:pt x="1641461" y="4426970"/>
                  <a:pt x="1607635" y="4447395"/>
                  <a:pt x="1577250" y="4472757"/>
                </a:cubicBezTo>
                <a:lnTo>
                  <a:pt x="1569145" y="4480975"/>
                </a:lnTo>
                <a:lnTo>
                  <a:pt x="1566853" y="4487821"/>
                </a:lnTo>
                <a:lnTo>
                  <a:pt x="1525477" y="4532306"/>
                </a:lnTo>
                <a:lnTo>
                  <a:pt x="1502850" y="4571916"/>
                </a:lnTo>
                <a:cubicBezTo>
                  <a:pt x="1495425" y="4592665"/>
                  <a:pt x="1482172" y="4603599"/>
                  <a:pt x="1467364" y="4603880"/>
                </a:cubicBezTo>
                <a:lnTo>
                  <a:pt x="1460649" y="4601625"/>
                </a:lnTo>
                <a:lnTo>
                  <a:pt x="1386972" y="4686679"/>
                </a:lnTo>
                <a:cubicBezTo>
                  <a:pt x="1330821" y="4741863"/>
                  <a:pt x="1288186" y="4779347"/>
                  <a:pt x="1200827" y="4838705"/>
                </a:cubicBezTo>
                <a:cubicBezTo>
                  <a:pt x="1183133" y="4825183"/>
                  <a:pt x="1212253" y="4805396"/>
                  <a:pt x="1194561" y="4791874"/>
                </a:cubicBezTo>
                <a:cubicBezTo>
                  <a:pt x="1082258" y="4902239"/>
                  <a:pt x="1014680" y="4990732"/>
                  <a:pt x="915893" y="5083399"/>
                </a:cubicBezTo>
                <a:cubicBezTo>
                  <a:pt x="834799" y="5189590"/>
                  <a:pt x="736014" y="5282257"/>
                  <a:pt x="592502" y="5396799"/>
                </a:cubicBezTo>
                <a:cubicBezTo>
                  <a:pt x="662169" y="5323918"/>
                  <a:pt x="601841" y="5347880"/>
                  <a:pt x="555028" y="5354143"/>
                </a:cubicBezTo>
                <a:cubicBezTo>
                  <a:pt x="539424" y="5356231"/>
                  <a:pt x="525907" y="5373929"/>
                  <a:pt x="510304" y="5376018"/>
                </a:cubicBezTo>
                <a:cubicBezTo>
                  <a:pt x="510304" y="5376018"/>
                  <a:pt x="508215" y="5360407"/>
                  <a:pt x="521730" y="5342708"/>
                </a:cubicBezTo>
                <a:cubicBezTo>
                  <a:pt x="521730" y="5342708"/>
                  <a:pt x="521730" y="5342708"/>
                  <a:pt x="535246" y="5325010"/>
                </a:cubicBezTo>
                <a:cubicBezTo>
                  <a:pt x="508215" y="5360407"/>
                  <a:pt x="501949" y="5313575"/>
                  <a:pt x="560189" y="5274003"/>
                </a:cubicBezTo>
                <a:cubicBezTo>
                  <a:pt x="560189" y="5274003"/>
                  <a:pt x="560189" y="5274003"/>
                  <a:pt x="577882" y="5287525"/>
                </a:cubicBezTo>
                <a:cubicBezTo>
                  <a:pt x="593485" y="5285438"/>
                  <a:pt x="607002" y="5267739"/>
                  <a:pt x="607002" y="5267739"/>
                </a:cubicBezTo>
                <a:cubicBezTo>
                  <a:pt x="624694" y="5281262"/>
                  <a:pt x="609090" y="5283350"/>
                  <a:pt x="595575" y="5301047"/>
                </a:cubicBezTo>
                <a:cubicBezTo>
                  <a:pt x="595575" y="5301047"/>
                  <a:pt x="595575" y="5301047"/>
                  <a:pt x="582059" y="5318746"/>
                </a:cubicBezTo>
                <a:cubicBezTo>
                  <a:pt x="655903" y="5277087"/>
                  <a:pt x="768206" y="5166720"/>
                  <a:pt x="764028" y="5135499"/>
                </a:cubicBezTo>
                <a:cubicBezTo>
                  <a:pt x="876330" y="5025133"/>
                  <a:pt x="1008414" y="4943900"/>
                  <a:pt x="1044783" y="4859584"/>
                </a:cubicBezTo>
                <a:cubicBezTo>
                  <a:pt x="1114450" y="4786703"/>
                  <a:pt x="1105112" y="4835622"/>
                  <a:pt x="1163352" y="4796049"/>
                </a:cubicBezTo>
                <a:cubicBezTo>
                  <a:pt x="1233019" y="4723168"/>
                  <a:pt x="1199721" y="4711733"/>
                  <a:pt x="1240268" y="4658638"/>
                </a:cubicBezTo>
                <a:cubicBezTo>
                  <a:pt x="1266009" y="4643277"/>
                  <a:pt x="1288693" y="4627330"/>
                  <a:pt x="1308875" y="4611223"/>
                </a:cubicBezTo>
                <a:lnTo>
                  <a:pt x="1328941" y="4593105"/>
                </a:lnTo>
                <a:lnTo>
                  <a:pt x="1163695" y="4712707"/>
                </a:lnTo>
                <a:cubicBezTo>
                  <a:pt x="1096601" y="4763100"/>
                  <a:pt x="1031506" y="4815711"/>
                  <a:pt x="971403" y="4873868"/>
                </a:cubicBezTo>
                <a:cubicBezTo>
                  <a:pt x="913519" y="4930027"/>
                  <a:pt x="856073" y="4977754"/>
                  <a:pt x="767779" y="4968905"/>
                </a:cubicBezTo>
                <a:cubicBezTo>
                  <a:pt x="750919" y="4968023"/>
                  <a:pt x="733617" y="4975574"/>
                  <a:pt x="720089" y="4991775"/>
                </a:cubicBezTo>
                <a:cubicBezTo>
                  <a:pt x="670195" y="5056809"/>
                  <a:pt x="596773" y="5086788"/>
                  <a:pt x="527126" y="5125420"/>
                </a:cubicBezTo>
                <a:cubicBezTo>
                  <a:pt x="479214" y="5152509"/>
                  <a:pt x="435521" y="5179817"/>
                  <a:pt x="391825" y="5207124"/>
                </a:cubicBezTo>
                <a:cubicBezTo>
                  <a:pt x="370088" y="5218670"/>
                  <a:pt x="344137" y="5229994"/>
                  <a:pt x="319287" y="5220239"/>
                </a:cubicBezTo>
                <a:cubicBezTo>
                  <a:pt x="294660" y="5206268"/>
                  <a:pt x="270030" y="5192293"/>
                  <a:pt x="301522" y="5155892"/>
                </a:cubicBezTo>
                <a:cubicBezTo>
                  <a:pt x="354971" y="5103728"/>
                  <a:pt x="375582" y="5032936"/>
                  <a:pt x="421703" y="4959251"/>
                </a:cubicBezTo>
                <a:cubicBezTo>
                  <a:pt x="340075" y="4984572"/>
                  <a:pt x="267534" y="4997688"/>
                  <a:pt x="218080" y="5054288"/>
                </a:cubicBezTo>
                <a:cubicBezTo>
                  <a:pt x="208988" y="5066494"/>
                  <a:pt x="195901" y="5074266"/>
                  <a:pt x="179262" y="5069167"/>
                </a:cubicBezTo>
                <a:cubicBezTo>
                  <a:pt x="162843" y="5059850"/>
                  <a:pt x="171936" y="5047644"/>
                  <a:pt x="176812" y="5035217"/>
                </a:cubicBezTo>
                <a:cubicBezTo>
                  <a:pt x="182131" y="5014355"/>
                  <a:pt x="170147" y="5001045"/>
                  <a:pt x="153507" y="4995946"/>
                </a:cubicBezTo>
                <a:cubicBezTo>
                  <a:pt x="128659" y="4986191"/>
                  <a:pt x="119125" y="5006832"/>
                  <a:pt x="118242" y="5023697"/>
                </a:cubicBezTo>
                <a:cubicBezTo>
                  <a:pt x="116477" y="5057424"/>
                  <a:pt x="94960" y="5064756"/>
                  <a:pt x="69672" y="5063432"/>
                </a:cubicBezTo>
                <a:cubicBezTo>
                  <a:pt x="35731" y="5065884"/>
                  <a:pt x="2673" y="5051468"/>
                  <a:pt x="0" y="5021735"/>
                </a:cubicBezTo>
                <a:cubicBezTo>
                  <a:pt x="1545" y="4992221"/>
                  <a:pt x="35045" y="4998203"/>
                  <a:pt x="60557" y="4995310"/>
                </a:cubicBezTo>
                <a:cubicBezTo>
                  <a:pt x="68985" y="4995751"/>
                  <a:pt x="73423" y="4991755"/>
                  <a:pt x="86066" y="4992417"/>
                </a:cubicBezTo>
                <a:cubicBezTo>
                  <a:pt x="78961" y="4966679"/>
                  <a:pt x="57225" y="4978224"/>
                  <a:pt x="45021" y="4969131"/>
                </a:cubicBezTo>
                <a:cubicBezTo>
                  <a:pt x="24608" y="4955378"/>
                  <a:pt x="4192" y="4941627"/>
                  <a:pt x="39016" y="4922312"/>
                </a:cubicBezTo>
                <a:cubicBezTo>
                  <a:pt x="52103" y="4914540"/>
                  <a:pt x="56318" y="4914761"/>
                  <a:pt x="52986" y="4897675"/>
                </a:cubicBezTo>
                <a:cubicBezTo>
                  <a:pt x="47866" y="4833991"/>
                  <a:pt x="63599" y="4775626"/>
                  <a:pt x="83327" y="4721697"/>
                </a:cubicBezTo>
                <a:cubicBezTo>
                  <a:pt x="107494" y="4663774"/>
                  <a:pt x="131658" y="4605850"/>
                  <a:pt x="134968" y="4542607"/>
                </a:cubicBezTo>
                <a:cubicBezTo>
                  <a:pt x="135630" y="4529958"/>
                  <a:pt x="140947" y="4509098"/>
                  <a:pt x="149820" y="4501107"/>
                </a:cubicBezTo>
                <a:cubicBezTo>
                  <a:pt x="197949" y="4469804"/>
                  <a:pt x="187953" y="4418546"/>
                  <a:pt x="185721" y="4380380"/>
                </a:cubicBezTo>
                <a:cubicBezTo>
                  <a:pt x="186824" y="4359299"/>
                  <a:pt x="180603" y="4316695"/>
                  <a:pt x="168840" y="4299168"/>
                </a:cubicBezTo>
                <a:cubicBezTo>
                  <a:pt x="140878" y="4268111"/>
                  <a:pt x="158400" y="4256345"/>
                  <a:pt x="176363" y="4236145"/>
                </a:cubicBezTo>
                <a:cubicBezTo>
                  <a:pt x="189671" y="4224160"/>
                  <a:pt x="202758" y="4216390"/>
                  <a:pt x="182566" y="4198422"/>
                </a:cubicBezTo>
                <a:cubicBezTo>
                  <a:pt x="178570" y="4193984"/>
                  <a:pt x="178791" y="4189767"/>
                  <a:pt x="174797" y="4185330"/>
                </a:cubicBezTo>
                <a:cubicBezTo>
                  <a:pt x="226702" y="4162681"/>
                  <a:pt x="178769" y="4109439"/>
                  <a:pt x="209819" y="4081470"/>
                </a:cubicBezTo>
                <a:cubicBezTo>
                  <a:pt x="218910" y="4069263"/>
                  <a:pt x="211584" y="4047740"/>
                  <a:pt x="208252" y="4030654"/>
                </a:cubicBezTo>
                <a:cubicBezTo>
                  <a:pt x="198254" y="3979400"/>
                  <a:pt x="216879" y="3946552"/>
                  <a:pt x="264570" y="3923679"/>
                </a:cubicBezTo>
                <a:cubicBezTo>
                  <a:pt x="316474" y="3901030"/>
                  <a:pt x="364605" y="3869726"/>
                  <a:pt x="400974" y="3820896"/>
                </a:cubicBezTo>
                <a:cubicBezTo>
                  <a:pt x="405409" y="3816900"/>
                  <a:pt x="414058" y="3813127"/>
                  <a:pt x="414499" y="3804693"/>
                </a:cubicBezTo>
                <a:cubicBezTo>
                  <a:pt x="432220" y="3708382"/>
                  <a:pt x="527821" y="3658426"/>
                  <a:pt x="570169" y="3576085"/>
                </a:cubicBezTo>
                <a:cubicBezTo>
                  <a:pt x="616952" y="3489751"/>
                  <a:pt x="684150" y="3417169"/>
                  <a:pt x="739142" y="3335491"/>
                </a:cubicBezTo>
                <a:cubicBezTo>
                  <a:pt x="808106" y="3229178"/>
                  <a:pt x="896819" y="3149266"/>
                  <a:pt x="977767" y="3056263"/>
                </a:cubicBezTo>
                <a:cubicBezTo>
                  <a:pt x="1063369" y="2955049"/>
                  <a:pt x="1120349" y="2835428"/>
                  <a:pt x="1185315" y="2724678"/>
                </a:cubicBezTo>
                <a:cubicBezTo>
                  <a:pt x="1203720" y="2696046"/>
                  <a:pt x="1226781" y="2659203"/>
                  <a:pt x="1185956" y="2631700"/>
                </a:cubicBezTo>
                <a:lnTo>
                  <a:pt x="1184401" y="2626072"/>
                </a:lnTo>
                <a:lnTo>
                  <a:pt x="1173243" y="2644084"/>
                </a:lnTo>
                <a:cubicBezTo>
                  <a:pt x="1168020" y="2657531"/>
                  <a:pt x="1166028" y="2672444"/>
                  <a:pt x="1169705" y="2689893"/>
                </a:cubicBezTo>
                <a:cubicBezTo>
                  <a:pt x="1135543" y="2709573"/>
                  <a:pt x="1161227" y="2785791"/>
                  <a:pt x="1086684" y="2779583"/>
                </a:cubicBezTo>
                <a:cubicBezTo>
                  <a:pt x="1065356" y="2777306"/>
                  <a:pt x="1063911" y="2812723"/>
                  <a:pt x="1047140" y="2827845"/>
                </a:cubicBezTo>
                <a:cubicBezTo>
                  <a:pt x="980058" y="2888329"/>
                  <a:pt x="949422" y="2967866"/>
                  <a:pt x="940529" y="3056720"/>
                </a:cubicBezTo>
                <a:cubicBezTo>
                  <a:pt x="935149" y="3085303"/>
                  <a:pt x="921899" y="3100217"/>
                  <a:pt x="893738" y="3101877"/>
                </a:cubicBezTo>
                <a:cubicBezTo>
                  <a:pt x="870128" y="3060869"/>
                  <a:pt x="878405" y="3021515"/>
                  <a:pt x="900556" y="2977811"/>
                </a:cubicBezTo>
                <a:cubicBezTo>
                  <a:pt x="929333" y="2926651"/>
                  <a:pt x="932639" y="2862858"/>
                  <a:pt x="946920" y="2805484"/>
                </a:cubicBezTo>
                <a:cubicBezTo>
                  <a:pt x="954990" y="2762609"/>
                  <a:pt x="970723" y="2729884"/>
                  <a:pt x="1007991" y="2702956"/>
                </a:cubicBezTo>
                <a:cubicBezTo>
                  <a:pt x="1031699" y="2685660"/>
                  <a:pt x="1047018" y="2660908"/>
                  <a:pt x="1061846" y="2635301"/>
                </a:cubicBezTo>
                <a:lnTo>
                  <a:pt x="1065180" y="2629726"/>
                </a:lnTo>
                <a:lnTo>
                  <a:pt x="1069875" y="2618870"/>
                </a:lnTo>
                <a:lnTo>
                  <a:pt x="1072037" y="2618260"/>
                </a:lnTo>
                <a:lnTo>
                  <a:pt x="1076372" y="2611011"/>
                </a:lnTo>
                <a:lnTo>
                  <a:pt x="1076437" y="2603702"/>
                </a:lnTo>
                <a:lnTo>
                  <a:pt x="1069875" y="2618870"/>
                </a:lnTo>
                <a:lnTo>
                  <a:pt x="1063474" y="2620676"/>
                </a:lnTo>
                <a:cubicBezTo>
                  <a:pt x="1050512" y="2637650"/>
                  <a:pt x="1035547" y="2639652"/>
                  <a:pt x="1048509" y="2622678"/>
                </a:cubicBezTo>
                <a:cubicBezTo>
                  <a:pt x="1048509" y="2622678"/>
                  <a:pt x="1059469" y="2590734"/>
                  <a:pt x="1074434" y="2588731"/>
                </a:cubicBezTo>
                <a:cubicBezTo>
                  <a:pt x="1074434" y="2588731"/>
                  <a:pt x="1072430" y="2573759"/>
                  <a:pt x="1072430" y="2573759"/>
                </a:cubicBezTo>
                <a:cubicBezTo>
                  <a:pt x="1072430" y="2573759"/>
                  <a:pt x="1072430" y="2573759"/>
                  <a:pt x="1087395" y="2571757"/>
                </a:cubicBezTo>
                <a:cubicBezTo>
                  <a:pt x="1159160" y="2425000"/>
                  <a:pt x="1247893" y="2291212"/>
                  <a:pt x="1359603" y="2215307"/>
                </a:cubicBezTo>
                <a:cubicBezTo>
                  <a:pt x="1375512" y="2106503"/>
                  <a:pt x="1552034" y="1945728"/>
                  <a:pt x="1627804" y="1828915"/>
                </a:cubicBezTo>
                <a:cubicBezTo>
                  <a:pt x="1668695" y="1792965"/>
                  <a:pt x="1670698" y="1807936"/>
                  <a:pt x="1659738" y="1839882"/>
                </a:cubicBezTo>
                <a:cubicBezTo>
                  <a:pt x="1696622" y="1773988"/>
                  <a:pt x="1765439" y="1719063"/>
                  <a:pt x="1761434" y="1689119"/>
                </a:cubicBezTo>
                <a:cubicBezTo>
                  <a:pt x="1841211" y="1602248"/>
                  <a:pt x="1895063" y="1549324"/>
                  <a:pt x="1933950" y="1498403"/>
                </a:cubicBezTo>
                <a:cubicBezTo>
                  <a:pt x="1987802" y="1445479"/>
                  <a:pt x="2028691" y="1409529"/>
                  <a:pt x="2112475" y="1352601"/>
                </a:cubicBezTo>
                <a:cubicBezTo>
                  <a:pt x="2125201" y="1362327"/>
                  <a:pt x="2112674" y="1375433"/>
                  <a:pt x="2112772" y="1386849"/>
                </a:cubicBezTo>
                <a:lnTo>
                  <a:pt x="2115875" y="1392643"/>
                </a:lnTo>
                <a:lnTo>
                  <a:pt x="2368381" y="1113415"/>
                </a:lnTo>
                <a:lnTo>
                  <a:pt x="2372963" y="1120035"/>
                </a:lnTo>
                <a:lnTo>
                  <a:pt x="2380065" y="1123576"/>
                </a:lnTo>
                <a:lnTo>
                  <a:pt x="2385743" y="1117924"/>
                </a:lnTo>
                <a:cubicBezTo>
                  <a:pt x="2463516" y="1016082"/>
                  <a:pt x="2558258" y="927208"/>
                  <a:pt x="2695893" y="817356"/>
                </a:cubicBezTo>
                <a:cubicBezTo>
                  <a:pt x="2629078" y="887253"/>
                  <a:pt x="2686938" y="864273"/>
                  <a:pt x="2731833" y="858265"/>
                </a:cubicBezTo>
                <a:cubicBezTo>
                  <a:pt x="2746799" y="856263"/>
                  <a:pt x="2759761" y="839288"/>
                  <a:pt x="2774726" y="837287"/>
                </a:cubicBezTo>
                <a:cubicBezTo>
                  <a:pt x="2774726" y="837287"/>
                  <a:pt x="2775228" y="841029"/>
                  <a:pt x="2774108" y="846894"/>
                </a:cubicBezTo>
                <a:lnTo>
                  <a:pt x="2767188" y="861843"/>
                </a:lnTo>
                <a:lnTo>
                  <a:pt x="2872754" y="766749"/>
                </a:lnTo>
                <a:cubicBezTo>
                  <a:pt x="2912674" y="730790"/>
                  <a:pt x="2932623" y="672646"/>
                  <a:pt x="3000067" y="676175"/>
                </a:cubicBezTo>
                <a:cubicBezTo>
                  <a:pt x="3012711" y="676837"/>
                  <a:pt x="3022244" y="656196"/>
                  <a:pt x="3027122" y="643768"/>
                </a:cubicBezTo>
                <a:cubicBezTo>
                  <a:pt x="3043077" y="581187"/>
                  <a:pt x="3079446" y="532356"/>
                  <a:pt x="3127576" y="501053"/>
                </a:cubicBezTo>
                <a:cubicBezTo>
                  <a:pt x="3179922" y="469970"/>
                  <a:pt x="3229595" y="409153"/>
                  <a:pt x="3302819" y="463719"/>
                </a:cubicBezTo>
                <a:cubicBezTo>
                  <a:pt x="3331222" y="486345"/>
                  <a:pt x="3351635" y="500096"/>
                  <a:pt x="3349649" y="538040"/>
                </a:cubicBezTo>
                <a:cubicBezTo>
                  <a:pt x="3345457" y="618149"/>
                  <a:pt x="3320189" y="697154"/>
                  <a:pt x="3290926" y="771722"/>
                </a:cubicBezTo>
                <a:cubicBezTo>
                  <a:pt x="3286050" y="784152"/>
                  <a:pt x="3268528" y="795917"/>
                  <a:pt x="3284726" y="809448"/>
                </a:cubicBezTo>
                <a:cubicBezTo>
                  <a:pt x="3300924" y="822978"/>
                  <a:pt x="3318226" y="815429"/>
                  <a:pt x="3331534" y="803443"/>
                </a:cubicBezTo>
                <a:cubicBezTo>
                  <a:pt x="3362805" y="771258"/>
                  <a:pt x="3394074" y="739072"/>
                  <a:pt x="3421571" y="698234"/>
                </a:cubicBezTo>
                <a:cubicBezTo>
                  <a:pt x="3513815" y="550861"/>
                  <a:pt x="3654875" y="439867"/>
                  <a:pt x="3767311" y="310461"/>
                </a:cubicBezTo>
                <a:cubicBezTo>
                  <a:pt x="3785275" y="290261"/>
                  <a:pt x="3815663" y="274944"/>
                  <a:pt x="3837621" y="259179"/>
                </a:cubicBezTo>
                <a:cubicBezTo>
                  <a:pt x="3855143" y="247413"/>
                  <a:pt x="3872667" y="235647"/>
                  <a:pt x="3883987" y="261605"/>
                </a:cubicBezTo>
                <a:cubicBezTo>
                  <a:pt x="3891756" y="274697"/>
                  <a:pt x="3904843" y="266925"/>
                  <a:pt x="3913493" y="263149"/>
                </a:cubicBezTo>
                <a:cubicBezTo>
                  <a:pt x="3965617" y="236283"/>
                  <a:pt x="3990247" y="250257"/>
                  <a:pt x="4000022" y="305729"/>
                </a:cubicBezTo>
                <a:cubicBezTo>
                  <a:pt x="3999801" y="309945"/>
                  <a:pt x="4003578" y="318597"/>
                  <a:pt x="4007791" y="318818"/>
                </a:cubicBezTo>
                <a:cubicBezTo>
                  <a:pt x="4081895" y="356518"/>
                  <a:pt x="4036878" y="409124"/>
                  <a:pt x="4025798" y="459279"/>
                </a:cubicBezTo>
                <a:cubicBezTo>
                  <a:pt x="4021143" y="467488"/>
                  <a:pt x="4016488" y="475699"/>
                  <a:pt x="4011832" y="483913"/>
                </a:cubicBezTo>
                <a:cubicBezTo>
                  <a:pt x="3983010" y="550049"/>
                  <a:pt x="3998546" y="576228"/>
                  <a:pt x="4065987" y="579758"/>
                </a:cubicBezTo>
                <a:cubicBezTo>
                  <a:pt x="4070201" y="579978"/>
                  <a:pt x="4074418" y="580199"/>
                  <a:pt x="4074639" y="575982"/>
                </a:cubicBezTo>
                <a:cubicBezTo>
                  <a:pt x="4094367" y="522055"/>
                  <a:pt x="4174012" y="534677"/>
                  <a:pt x="4189966" y="472096"/>
                </a:cubicBezTo>
                <a:cubicBezTo>
                  <a:pt x="4200604" y="430376"/>
                  <a:pt x="4227216" y="406403"/>
                  <a:pt x="4274024" y="400396"/>
                </a:cubicBezTo>
                <a:cubicBezTo>
                  <a:pt x="4224988" y="368235"/>
                  <a:pt x="4218324" y="334064"/>
                  <a:pt x="4242487" y="276141"/>
                </a:cubicBezTo>
                <a:cubicBezTo>
                  <a:pt x="4247143" y="267928"/>
                  <a:pt x="4252019" y="255500"/>
                  <a:pt x="4264444" y="260379"/>
                </a:cubicBezTo>
                <a:cubicBezTo>
                  <a:pt x="4276870" y="265257"/>
                  <a:pt x="4271993" y="277685"/>
                  <a:pt x="4267336" y="285896"/>
                </a:cubicBezTo>
                <a:cubicBezTo>
                  <a:pt x="4262459" y="298326"/>
                  <a:pt x="4257582" y="310753"/>
                  <a:pt x="4265129" y="328059"/>
                </a:cubicBezTo>
                <a:cubicBezTo>
                  <a:pt x="4286207" y="329162"/>
                  <a:pt x="4291303" y="312518"/>
                  <a:pt x="4291965" y="299870"/>
                </a:cubicBezTo>
                <a:cubicBezTo>
                  <a:pt x="4294392" y="253489"/>
                  <a:pt x="4313679" y="207993"/>
                  <a:pt x="4324535" y="162056"/>
                </a:cubicBezTo>
                <a:cubicBezTo>
                  <a:pt x="4340049" y="107909"/>
                  <a:pt x="4367327" y="71285"/>
                  <a:pt x="4426778" y="65942"/>
                </a:cubicBezTo>
                <a:cubicBezTo>
                  <a:pt x="4439644" y="62387"/>
                  <a:pt x="4452290" y="63048"/>
                  <a:pt x="4457387" y="46404"/>
                </a:cubicBezTo>
                <a:cubicBezTo>
                  <a:pt x="4472018" y="9120"/>
                  <a:pt x="4506180" y="2453"/>
                  <a:pt x="4540121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effectLst>
            <a:innerShdw blurRad="63500" dist="50800" dir="18900000">
              <a:prstClr val="black">
                <a:alpha val="50000"/>
              </a:prstClr>
            </a:innerShdw>
          </a:effectLst>
        </p:spPr>
        <p:txBody>
          <a:bodyPr wrap="square" anchor="ctr">
            <a:noAutofit/>
          </a:bodyPr>
          <a:lstStyle>
            <a:lvl1pPr marL="0" indent="0" algn="ctr">
              <a:buNone/>
              <a:defRPr sz="1200">
                <a:latin typeface="Arial" pitchFamily="34" charset="0"/>
                <a:cs typeface="Arial" pitchFamily="34" charset="0"/>
              </a:defRPr>
            </a:lvl1pPr>
            <a:lvl2pPr marL="457223" indent="0">
              <a:buNone/>
              <a:defRPr sz="2800"/>
            </a:lvl2pPr>
            <a:lvl3pPr marL="914446" indent="0">
              <a:buNone/>
              <a:defRPr sz="2400"/>
            </a:lvl3pPr>
            <a:lvl4pPr marL="1371669" indent="0">
              <a:buNone/>
              <a:defRPr sz="2000"/>
            </a:lvl4pPr>
            <a:lvl5pPr marL="1828891" indent="0">
              <a:buNone/>
              <a:defRPr sz="2000"/>
            </a:lvl5pPr>
            <a:lvl6pPr marL="2286114" indent="0">
              <a:buNone/>
              <a:defRPr sz="2000"/>
            </a:lvl6pPr>
            <a:lvl7pPr marL="2743337" indent="0">
              <a:buNone/>
              <a:defRPr sz="2000"/>
            </a:lvl7pPr>
            <a:lvl8pPr marL="3200560" indent="0">
              <a:buNone/>
              <a:defRPr sz="2000"/>
            </a:lvl8pPr>
            <a:lvl9pPr marL="3657783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4450506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NG sets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23529" y="123478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PNG LAYOUT</a:t>
            </a:r>
          </a:p>
        </p:txBody>
      </p:sp>
    </p:spTree>
    <p:extLst>
      <p:ext uri="{BB962C8B-B14F-4D97-AF65-F5344CB8AC3E}">
        <p14:creationId xmlns:p14="http://schemas.microsoft.com/office/powerpoint/2010/main" val="14092188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9502376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4_Images &amp; Conten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8"/>
          <p:cNvSpPr>
            <a:spLocks noGrp="1"/>
          </p:cNvSpPr>
          <p:nvPr>
            <p:ph type="pic" sz="quarter" idx="12" hasCustomPrompt="1"/>
          </p:nvPr>
        </p:nvSpPr>
        <p:spPr>
          <a:xfrm>
            <a:off x="6143114" y="609600"/>
            <a:ext cx="2592156" cy="252079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tIns="144000" anchor="ctr"/>
          <a:lstStyle>
            <a:lvl1pPr marL="0" indent="0" algn="ctr">
              <a:buNone/>
              <a:defRPr sz="1200">
                <a:latin typeface="+mn-lt"/>
                <a:cs typeface="Arial" pitchFamily="34" charset="0"/>
              </a:defRPr>
            </a:lvl1pPr>
          </a:lstStyle>
          <a:p>
            <a:r>
              <a:rPr lang="en-US" altLang="ko-KR" dirty="0"/>
              <a:t>Insert Your Image</a:t>
            </a:r>
            <a:endParaRPr lang="ko-KR" altLang="en-US" dirty="0"/>
          </a:p>
        </p:txBody>
      </p:sp>
      <p:sp>
        <p:nvSpPr>
          <p:cNvPr id="21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684887" y="3207932"/>
            <a:ext cx="5364000" cy="314564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tIns="144000" anchor="ctr"/>
          <a:lstStyle>
            <a:lvl1pPr marL="0" indent="0" algn="ctr">
              <a:buNone/>
              <a:defRPr sz="1200">
                <a:latin typeface="+mn-lt"/>
                <a:cs typeface="Arial" pitchFamily="34" charset="0"/>
              </a:defRPr>
            </a:lvl1pPr>
          </a:lstStyle>
          <a:p>
            <a:r>
              <a:rPr lang="en-US" altLang="ko-KR" dirty="0"/>
              <a:t>Insert Your Image</a:t>
            </a:r>
            <a:endParaRPr lang="ko-KR" altLang="en-US" dirty="0"/>
          </a:p>
        </p:txBody>
      </p:sp>
      <p:sp>
        <p:nvSpPr>
          <p:cNvPr id="23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8870136" y="609600"/>
            <a:ext cx="2592156" cy="252079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tIns="144000" anchor="ctr"/>
          <a:lstStyle>
            <a:lvl1pPr marL="0" indent="0" algn="ctr">
              <a:buNone/>
              <a:defRPr sz="1200">
                <a:latin typeface="+mn-lt"/>
                <a:cs typeface="Arial" pitchFamily="34" charset="0"/>
              </a:defRPr>
            </a:lvl1pPr>
          </a:lstStyle>
          <a:p>
            <a:r>
              <a:rPr lang="en-US" altLang="ko-KR" dirty="0"/>
              <a:t>Insert Your Imag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0184290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con s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23529" y="123478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  <p:sp>
        <p:nvSpPr>
          <p:cNvPr id="3" name="Rounded Rectangle 2"/>
          <p:cNvSpPr/>
          <p:nvPr userDrawn="1"/>
        </p:nvSpPr>
        <p:spPr>
          <a:xfrm>
            <a:off x="354010" y="1131591"/>
            <a:ext cx="3560767" cy="5402561"/>
          </a:xfrm>
          <a:prstGeom prst="roundRect">
            <a:avLst>
              <a:gd name="adj" fmla="val 396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351"/>
          </a:p>
        </p:txBody>
      </p:sp>
      <p:sp>
        <p:nvSpPr>
          <p:cNvPr id="4" name="Rounded Rectangle 3"/>
          <p:cNvSpPr/>
          <p:nvPr userDrawn="1"/>
        </p:nvSpPr>
        <p:spPr>
          <a:xfrm>
            <a:off x="531933" y="1347500"/>
            <a:ext cx="153868" cy="5015200"/>
          </a:xfrm>
          <a:prstGeom prst="roundRect">
            <a:avLst>
              <a:gd name="adj" fmla="val 50000"/>
            </a:avLst>
          </a:prstGeom>
          <a:solidFill>
            <a:schemeClr val="bg1">
              <a:alpha val="4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351">
              <a:solidFill>
                <a:schemeClr val="bg1"/>
              </a:solidFill>
            </a:endParaRPr>
          </a:p>
        </p:txBody>
      </p:sp>
      <p:sp>
        <p:nvSpPr>
          <p:cNvPr id="5" name="Half Frame 4"/>
          <p:cNvSpPr/>
          <p:nvPr userDrawn="1"/>
        </p:nvSpPr>
        <p:spPr>
          <a:xfrm rot="5400000">
            <a:off x="3057177" y="1276653"/>
            <a:ext cx="685849" cy="685148"/>
          </a:xfrm>
          <a:prstGeom prst="halfFrame">
            <a:avLst>
              <a:gd name="adj1" fmla="val 23728"/>
              <a:gd name="adj2" fmla="val 24642"/>
            </a:avLst>
          </a:prstGeom>
          <a:solidFill>
            <a:schemeClr val="bg1">
              <a:alpha val="2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351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5644E8BB-F13A-4AE0-889E-633DE4143787}"/>
              </a:ext>
            </a:extLst>
          </p:cNvPr>
          <p:cNvSpPr txBox="1"/>
          <p:nvPr userDrawn="1"/>
        </p:nvSpPr>
        <p:spPr>
          <a:xfrm>
            <a:off x="711704" y="1637214"/>
            <a:ext cx="2232248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altLang="ko-KR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You can Resize without losing quality</a:t>
            </a:r>
            <a:endParaRPr lang="ko-KR" altLang="en-US" sz="14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F2CE2B8B-ED32-491A-95B2-D28904BC432C}"/>
              </a:ext>
            </a:extLst>
          </p:cNvPr>
          <p:cNvSpPr txBox="1"/>
          <p:nvPr userDrawn="1"/>
        </p:nvSpPr>
        <p:spPr>
          <a:xfrm>
            <a:off x="711704" y="2127463"/>
            <a:ext cx="2232248" cy="73866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altLang="ko-KR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You can Change Fill Color &amp;</a:t>
            </a:r>
          </a:p>
          <a:p>
            <a:r>
              <a:rPr lang="en-US" altLang="ko-KR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ine Color</a:t>
            </a:r>
            <a:endParaRPr lang="ko-KR" altLang="en-US" sz="14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962A52DF-2523-4479-BFA3-B5ACE9887E1C}"/>
              </a:ext>
            </a:extLst>
          </p:cNvPr>
          <p:cNvSpPr txBox="1"/>
          <p:nvPr userDrawn="1"/>
        </p:nvSpPr>
        <p:spPr>
          <a:xfrm>
            <a:off x="721229" y="5808438"/>
            <a:ext cx="2232000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altLang="ko-KR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allppt.com</a:t>
            </a:r>
            <a:endParaRPr lang="ko-KR" altLang="en-US" sz="14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BAAC314F-E96A-4408-95DE-A70E9ED054AF}"/>
              </a:ext>
            </a:extLst>
          </p:cNvPr>
          <p:cNvSpPr txBox="1"/>
          <p:nvPr userDrawn="1"/>
        </p:nvSpPr>
        <p:spPr>
          <a:xfrm>
            <a:off x="721229" y="4450324"/>
            <a:ext cx="2717296" cy="138499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altLang="ko-KR" sz="2800" b="1" dirty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rPr>
              <a:t>FREE </a:t>
            </a:r>
          </a:p>
          <a:p>
            <a:r>
              <a:rPr lang="en-US" altLang="ko-KR" sz="2800" b="1" dirty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rPr>
              <a:t>PPT TEMPLATES</a:t>
            </a:r>
          </a:p>
        </p:txBody>
      </p:sp>
    </p:spTree>
    <p:extLst>
      <p:ext uri="{BB962C8B-B14F-4D97-AF65-F5344CB8AC3E}">
        <p14:creationId xmlns:p14="http://schemas.microsoft.com/office/powerpoint/2010/main" val="89860158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26015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2/6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833027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2/6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302790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2/6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175052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2/6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344676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2/6/2023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644547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2/6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814924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2/6/2023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19877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yle slide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6376779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2/6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347355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2/6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041869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2/6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457804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2/6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779415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Break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539386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yle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844448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yle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88033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yle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1831091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23529" y="287255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</p:spTree>
    <p:extLst>
      <p:ext uri="{BB962C8B-B14F-4D97-AF65-F5344CB8AC3E}">
        <p14:creationId xmlns:p14="http://schemas.microsoft.com/office/powerpoint/2010/main" val="26460069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23529" y="287255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C16816E-120B-4EE4-BA99-A3865910D1F9}"/>
              </a:ext>
            </a:extLst>
          </p:cNvPr>
          <p:cNvSpPr/>
          <p:nvPr userDrawn="1"/>
        </p:nvSpPr>
        <p:spPr>
          <a:xfrm>
            <a:off x="0" y="1711853"/>
            <a:ext cx="12192000" cy="222540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800"/>
          </a:p>
        </p:txBody>
      </p:sp>
      <p:sp>
        <p:nvSpPr>
          <p:cNvPr id="18" name="그림 개체 틀 2">
            <a:extLst>
              <a:ext uri="{FF2B5EF4-FFF2-40B4-BE49-F238E27FC236}">
                <a16:creationId xmlns:a16="http://schemas.microsoft.com/office/drawing/2014/main" id="{2F3F27EA-37A2-43EE-80BC-136B20FA7D8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354502" y="1858384"/>
            <a:ext cx="2077328" cy="179946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altLang="ko-KR" dirty="0"/>
              <a:t>Place Your Picture Here</a:t>
            </a:r>
            <a:endParaRPr lang="ko-KR" altLang="en-US" dirty="0"/>
          </a:p>
        </p:txBody>
      </p:sp>
      <p:sp>
        <p:nvSpPr>
          <p:cNvPr id="19" name="그림 개체 틀 2">
            <a:extLst>
              <a:ext uri="{FF2B5EF4-FFF2-40B4-BE49-F238E27FC236}">
                <a16:creationId xmlns:a16="http://schemas.microsoft.com/office/drawing/2014/main" id="{D061F51E-0F7D-43E2-BFE9-8084F70025B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845221" y="1858384"/>
            <a:ext cx="2077328" cy="179946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altLang="ko-KR" dirty="0"/>
              <a:t>Place Your Picture Here</a:t>
            </a:r>
            <a:endParaRPr lang="ko-KR" altLang="en-US" dirty="0"/>
          </a:p>
        </p:txBody>
      </p:sp>
      <p:sp>
        <p:nvSpPr>
          <p:cNvPr id="20" name="그림 개체 틀 2">
            <a:extLst>
              <a:ext uri="{FF2B5EF4-FFF2-40B4-BE49-F238E27FC236}">
                <a16:creationId xmlns:a16="http://schemas.microsoft.com/office/drawing/2014/main" id="{676CAC46-D06D-41EF-93D2-88C4B28D1871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345638" y="1858384"/>
            <a:ext cx="2077328" cy="179946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altLang="ko-KR" dirty="0"/>
              <a:t>Place Your Picture Here</a:t>
            </a:r>
            <a:endParaRPr lang="ko-KR" altLang="en-US" dirty="0"/>
          </a:p>
        </p:txBody>
      </p:sp>
      <p:grpSp>
        <p:nvGrpSpPr>
          <p:cNvPr id="21" name="그룹 2">
            <a:extLst>
              <a:ext uri="{FF2B5EF4-FFF2-40B4-BE49-F238E27FC236}">
                <a16:creationId xmlns:a16="http://schemas.microsoft.com/office/drawing/2014/main" id="{683784F2-CEBF-4D2D-AED0-CC5F6B943072}"/>
              </a:ext>
            </a:extLst>
          </p:cNvPr>
          <p:cNvGrpSpPr/>
          <p:nvPr userDrawn="1"/>
        </p:nvGrpSpPr>
        <p:grpSpPr>
          <a:xfrm>
            <a:off x="4354502" y="3657845"/>
            <a:ext cx="2077328" cy="936104"/>
            <a:chOff x="4446036" y="3296029"/>
            <a:chExt cx="1852059" cy="936104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5A1725A5-C318-4F03-8A70-9C8194C0D119}"/>
                </a:ext>
              </a:extLst>
            </p:cNvPr>
            <p:cNvSpPr/>
            <p:nvPr userDrawn="1"/>
          </p:nvSpPr>
          <p:spPr>
            <a:xfrm>
              <a:off x="4446036" y="3296029"/>
              <a:ext cx="1852059" cy="656456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800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99125EB3-BF8C-46D5-BF53-C2D95A660A41}"/>
                </a:ext>
              </a:extLst>
            </p:cNvPr>
            <p:cNvSpPr/>
            <p:nvPr userDrawn="1"/>
          </p:nvSpPr>
          <p:spPr>
            <a:xfrm>
              <a:off x="4446036" y="3952485"/>
              <a:ext cx="1852059" cy="279648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800"/>
            </a:p>
          </p:txBody>
        </p:sp>
      </p:grpSp>
      <p:grpSp>
        <p:nvGrpSpPr>
          <p:cNvPr id="24" name="그룹 3">
            <a:extLst>
              <a:ext uri="{FF2B5EF4-FFF2-40B4-BE49-F238E27FC236}">
                <a16:creationId xmlns:a16="http://schemas.microsoft.com/office/drawing/2014/main" id="{3E4851FF-0276-4DB9-9D79-C6FD78B81B2B}"/>
              </a:ext>
            </a:extLst>
          </p:cNvPr>
          <p:cNvGrpSpPr/>
          <p:nvPr userDrawn="1"/>
        </p:nvGrpSpPr>
        <p:grpSpPr>
          <a:xfrm>
            <a:off x="6845221" y="3657845"/>
            <a:ext cx="2077328" cy="936104"/>
            <a:chOff x="7046603" y="3303644"/>
            <a:chExt cx="1852059" cy="936104"/>
          </a:xfrm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ED1F80E7-4123-4268-A5C6-70DE48640135}"/>
                </a:ext>
              </a:extLst>
            </p:cNvPr>
            <p:cNvSpPr/>
            <p:nvPr userDrawn="1"/>
          </p:nvSpPr>
          <p:spPr>
            <a:xfrm>
              <a:off x="7046603" y="3303644"/>
              <a:ext cx="1852059" cy="656456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800"/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8EF39642-9393-4A9C-894C-DBF916DA9CFC}"/>
                </a:ext>
              </a:extLst>
            </p:cNvPr>
            <p:cNvSpPr/>
            <p:nvPr userDrawn="1"/>
          </p:nvSpPr>
          <p:spPr>
            <a:xfrm>
              <a:off x="7046603" y="3960100"/>
              <a:ext cx="1852059" cy="279648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800"/>
            </a:p>
          </p:txBody>
        </p:sp>
      </p:grpSp>
      <p:grpSp>
        <p:nvGrpSpPr>
          <p:cNvPr id="27" name="그룹 4">
            <a:extLst>
              <a:ext uri="{FF2B5EF4-FFF2-40B4-BE49-F238E27FC236}">
                <a16:creationId xmlns:a16="http://schemas.microsoft.com/office/drawing/2014/main" id="{CF3D58A7-D9A0-46D6-A473-550BA988535F}"/>
              </a:ext>
            </a:extLst>
          </p:cNvPr>
          <p:cNvGrpSpPr/>
          <p:nvPr userDrawn="1"/>
        </p:nvGrpSpPr>
        <p:grpSpPr>
          <a:xfrm>
            <a:off x="9345638" y="3657845"/>
            <a:ext cx="2077328" cy="936104"/>
            <a:chOff x="9446869" y="3311259"/>
            <a:chExt cx="1852059" cy="936104"/>
          </a:xfrm>
        </p:grpSpPr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A897FC37-915A-4007-ABB4-E2D5A1F7A924}"/>
                </a:ext>
              </a:extLst>
            </p:cNvPr>
            <p:cNvSpPr/>
            <p:nvPr userDrawn="1"/>
          </p:nvSpPr>
          <p:spPr>
            <a:xfrm>
              <a:off x="9446869" y="3311259"/>
              <a:ext cx="1852059" cy="656456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800"/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704EC1E1-8DDF-4F6D-8F2A-3AB6E4F2E23B}"/>
                </a:ext>
              </a:extLst>
            </p:cNvPr>
            <p:cNvSpPr/>
            <p:nvPr userDrawn="1"/>
          </p:nvSpPr>
          <p:spPr>
            <a:xfrm>
              <a:off x="9446869" y="3967715"/>
              <a:ext cx="1852059" cy="279648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800"/>
            </a:p>
          </p:txBody>
        </p:sp>
      </p:grpSp>
      <p:sp>
        <p:nvSpPr>
          <p:cNvPr id="30" name="Rectangle 29">
            <a:extLst>
              <a:ext uri="{FF2B5EF4-FFF2-40B4-BE49-F238E27FC236}">
                <a16:creationId xmlns:a16="http://schemas.microsoft.com/office/drawing/2014/main" id="{BD53399F-4B30-4CD5-AF8B-0759923C1817}"/>
              </a:ext>
            </a:extLst>
          </p:cNvPr>
          <p:cNvSpPr/>
          <p:nvPr userDrawn="1"/>
        </p:nvSpPr>
        <p:spPr>
          <a:xfrm>
            <a:off x="0" y="1514879"/>
            <a:ext cx="12192000" cy="14401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800"/>
          </a:p>
        </p:txBody>
      </p:sp>
    </p:spTree>
    <p:extLst>
      <p:ext uri="{BB962C8B-B14F-4D97-AF65-F5344CB8AC3E}">
        <p14:creationId xmlns:p14="http://schemas.microsoft.com/office/powerpoint/2010/main" val="311714670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mage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23529" y="287255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413A6664-83E5-4487-B534-989C9B886DA9}"/>
              </a:ext>
            </a:extLst>
          </p:cNvPr>
          <p:cNvSpPr/>
          <p:nvPr userDrawn="1"/>
        </p:nvSpPr>
        <p:spPr>
          <a:xfrm>
            <a:off x="0" y="3952112"/>
            <a:ext cx="12192000" cy="29058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800"/>
          </a:p>
        </p:txBody>
      </p:sp>
      <p:sp>
        <p:nvSpPr>
          <p:cNvPr id="35" name="Rounded Rectangle 3">
            <a:extLst>
              <a:ext uri="{FF2B5EF4-FFF2-40B4-BE49-F238E27FC236}">
                <a16:creationId xmlns:a16="http://schemas.microsoft.com/office/drawing/2014/main" id="{D0A8E277-D47A-4CA2-B364-4F48F87985A9}"/>
              </a:ext>
            </a:extLst>
          </p:cNvPr>
          <p:cNvSpPr/>
          <p:nvPr userDrawn="1"/>
        </p:nvSpPr>
        <p:spPr>
          <a:xfrm>
            <a:off x="7723676" y="1530984"/>
            <a:ext cx="2780705" cy="2263469"/>
          </a:xfrm>
          <a:custGeom>
            <a:avLst/>
            <a:gdLst/>
            <a:ahLst/>
            <a:cxnLst/>
            <a:rect l="l" t="t" r="r" b="b"/>
            <a:pathLst>
              <a:path w="2481182" h="2019660">
                <a:moveTo>
                  <a:pt x="1240591" y="1481245"/>
                </a:moveTo>
                <a:cubicBezTo>
                  <a:pt x="1201062" y="1481245"/>
                  <a:pt x="1169018" y="1511885"/>
                  <a:pt x="1169018" y="1549682"/>
                </a:cubicBezTo>
                <a:cubicBezTo>
                  <a:pt x="1169018" y="1587479"/>
                  <a:pt x="1201062" y="1618119"/>
                  <a:pt x="1240591" y="1618119"/>
                </a:cubicBezTo>
                <a:cubicBezTo>
                  <a:pt x="1280120" y="1618119"/>
                  <a:pt x="1312164" y="1587479"/>
                  <a:pt x="1312164" y="1549682"/>
                </a:cubicBezTo>
                <a:cubicBezTo>
                  <a:pt x="1312164" y="1511885"/>
                  <a:pt x="1280120" y="1481245"/>
                  <a:pt x="1240591" y="1481245"/>
                </a:cubicBezTo>
                <a:close/>
                <a:moveTo>
                  <a:pt x="95430" y="81527"/>
                </a:moveTo>
                <a:lnTo>
                  <a:pt x="95430" y="91249"/>
                </a:lnTo>
                <a:lnTo>
                  <a:pt x="95430" y="1336786"/>
                </a:lnTo>
                <a:lnTo>
                  <a:pt x="95430" y="1414360"/>
                </a:lnTo>
                <a:lnTo>
                  <a:pt x="2385752" y="1414360"/>
                </a:lnTo>
                <a:lnTo>
                  <a:pt x="2385752" y="1336786"/>
                </a:lnTo>
                <a:lnTo>
                  <a:pt x="2385752" y="91249"/>
                </a:lnTo>
                <a:lnTo>
                  <a:pt x="2385752" y="81527"/>
                </a:lnTo>
                <a:close/>
                <a:moveTo>
                  <a:pt x="82232" y="0"/>
                </a:moveTo>
                <a:lnTo>
                  <a:pt x="2398950" y="0"/>
                </a:lnTo>
                <a:cubicBezTo>
                  <a:pt x="2444366" y="0"/>
                  <a:pt x="2481182" y="33399"/>
                  <a:pt x="2481182" y="74597"/>
                </a:cubicBezTo>
                <a:lnTo>
                  <a:pt x="2481182" y="1613510"/>
                </a:lnTo>
                <a:cubicBezTo>
                  <a:pt x="2481182" y="1654709"/>
                  <a:pt x="2444366" y="1688107"/>
                  <a:pt x="2398950" y="1688107"/>
                </a:cubicBezTo>
                <a:lnTo>
                  <a:pt x="1569038" y="1688107"/>
                </a:lnTo>
                <a:lnTo>
                  <a:pt x="1643796" y="1974036"/>
                </a:lnTo>
                <a:lnTo>
                  <a:pt x="1876791" y="1974036"/>
                </a:lnTo>
                <a:cubicBezTo>
                  <a:pt x="1881184" y="1974036"/>
                  <a:pt x="1884744" y="1977440"/>
                  <a:pt x="1884744" y="1981640"/>
                </a:cubicBezTo>
                <a:lnTo>
                  <a:pt x="1884744" y="2012056"/>
                </a:lnTo>
                <a:cubicBezTo>
                  <a:pt x="1884744" y="2016256"/>
                  <a:pt x="1881184" y="2019660"/>
                  <a:pt x="1876791" y="2019660"/>
                </a:cubicBezTo>
                <a:lnTo>
                  <a:pt x="604391" y="2019660"/>
                </a:lnTo>
                <a:cubicBezTo>
                  <a:pt x="599998" y="2019660"/>
                  <a:pt x="596438" y="2016256"/>
                  <a:pt x="596438" y="2012056"/>
                </a:cubicBezTo>
                <a:lnTo>
                  <a:pt x="596438" y="1981640"/>
                </a:lnTo>
                <a:cubicBezTo>
                  <a:pt x="596438" y="1977440"/>
                  <a:pt x="599998" y="1974036"/>
                  <a:pt x="604391" y="1974036"/>
                </a:cubicBezTo>
                <a:lnTo>
                  <a:pt x="837388" y="1974036"/>
                </a:lnTo>
                <a:lnTo>
                  <a:pt x="912145" y="1688107"/>
                </a:lnTo>
                <a:lnTo>
                  <a:pt x="82232" y="1688107"/>
                </a:lnTo>
                <a:cubicBezTo>
                  <a:pt x="36817" y="1688107"/>
                  <a:pt x="0" y="1654709"/>
                  <a:pt x="0" y="1613510"/>
                </a:cubicBezTo>
                <a:lnTo>
                  <a:pt x="0" y="74597"/>
                </a:lnTo>
                <a:cubicBezTo>
                  <a:pt x="0" y="33399"/>
                  <a:pt x="36817" y="0"/>
                  <a:pt x="82232" y="0"/>
                </a:cubicBezTo>
                <a:close/>
              </a:path>
            </a:pathLst>
          </a:custGeom>
          <a:solidFill>
            <a:schemeClr val="accent1"/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700"/>
          </a:p>
        </p:txBody>
      </p:sp>
      <p:sp>
        <p:nvSpPr>
          <p:cNvPr id="36" name="Trapezoid 18">
            <a:extLst>
              <a:ext uri="{FF2B5EF4-FFF2-40B4-BE49-F238E27FC236}">
                <a16:creationId xmlns:a16="http://schemas.microsoft.com/office/drawing/2014/main" id="{E5026CD6-24EE-46BC-860C-5C52904E9C7E}"/>
              </a:ext>
            </a:extLst>
          </p:cNvPr>
          <p:cNvSpPr/>
          <p:nvPr userDrawn="1"/>
        </p:nvSpPr>
        <p:spPr>
          <a:xfrm rot="10800000">
            <a:off x="1518939" y="4358054"/>
            <a:ext cx="3392680" cy="1877283"/>
          </a:xfrm>
          <a:custGeom>
            <a:avLst/>
            <a:gdLst/>
            <a:ahLst/>
            <a:cxnLst/>
            <a:rect l="l" t="t" r="r" b="b"/>
            <a:pathLst>
              <a:path w="2513902" h="1391026">
                <a:moveTo>
                  <a:pt x="1390337" y="97116"/>
                </a:moveTo>
                <a:lnTo>
                  <a:pt x="1390337" y="72919"/>
                </a:lnTo>
                <a:lnTo>
                  <a:pt x="1123565" y="72919"/>
                </a:lnTo>
                <a:lnTo>
                  <a:pt x="1123565" y="97116"/>
                </a:lnTo>
                <a:close/>
                <a:moveTo>
                  <a:pt x="2178715" y="1323989"/>
                </a:moveTo>
                <a:lnTo>
                  <a:pt x="2178715" y="217871"/>
                </a:lnTo>
                <a:lnTo>
                  <a:pt x="335187" y="217871"/>
                </a:lnTo>
                <a:lnTo>
                  <a:pt x="335187" y="1323989"/>
                </a:lnTo>
                <a:close/>
                <a:moveTo>
                  <a:pt x="2190205" y="1391026"/>
                </a:moveTo>
                <a:lnTo>
                  <a:pt x="323696" y="1391026"/>
                </a:lnTo>
                <a:cubicBezTo>
                  <a:pt x="293019" y="1391026"/>
                  <a:pt x="268149" y="1366157"/>
                  <a:pt x="268149" y="1335479"/>
                </a:cubicBezTo>
                <a:lnTo>
                  <a:pt x="268149" y="117315"/>
                </a:lnTo>
                <a:lnTo>
                  <a:pt x="0" y="117315"/>
                </a:lnTo>
                <a:lnTo>
                  <a:pt x="0" y="50278"/>
                </a:lnTo>
                <a:lnTo>
                  <a:pt x="65286" y="0"/>
                </a:lnTo>
                <a:lnTo>
                  <a:pt x="2448616" y="0"/>
                </a:lnTo>
                <a:lnTo>
                  <a:pt x="2513902" y="50278"/>
                </a:lnTo>
                <a:lnTo>
                  <a:pt x="2513902" y="117315"/>
                </a:lnTo>
                <a:lnTo>
                  <a:pt x="2245752" y="117315"/>
                </a:lnTo>
                <a:lnTo>
                  <a:pt x="2245752" y="1335479"/>
                </a:lnTo>
                <a:cubicBezTo>
                  <a:pt x="2245752" y="1366157"/>
                  <a:pt x="2220883" y="1391026"/>
                  <a:pt x="2190205" y="1391026"/>
                </a:cubicBezTo>
                <a:close/>
              </a:path>
            </a:pathLst>
          </a:custGeom>
          <a:solidFill>
            <a:schemeClr val="bg1"/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700"/>
          </a:p>
        </p:txBody>
      </p:sp>
      <p:sp>
        <p:nvSpPr>
          <p:cNvPr id="37" name="그림 개체 틀 2">
            <a:extLst>
              <a:ext uri="{FF2B5EF4-FFF2-40B4-BE49-F238E27FC236}">
                <a16:creationId xmlns:a16="http://schemas.microsoft.com/office/drawing/2014/main" id="{FB18C16F-B5CD-49A5-9132-508D237A8037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7819702" y="1604299"/>
            <a:ext cx="2582979" cy="1527152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txBody>
          <a:bodyPr anchor="ctr"/>
          <a:lstStyle>
            <a:lvl1pPr marL="0" indent="0" algn="ctr">
              <a:buFontTx/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altLang="ko-KR" dirty="0"/>
              <a:t>Place Your Picture Here</a:t>
            </a:r>
            <a:endParaRPr lang="ko-KR" altLang="en-US" dirty="0"/>
          </a:p>
        </p:txBody>
      </p:sp>
      <p:sp>
        <p:nvSpPr>
          <p:cNvPr id="38" name="그림 개체 틀 2">
            <a:extLst>
              <a:ext uri="{FF2B5EF4-FFF2-40B4-BE49-F238E27FC236}">
                <a16:creationId xmlns:a16="http://schemas.microsoft.com/office/drawing/2014/main" id="{242FF9A1-C321-419F-80C3-AFB36D2C5F6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960508" y="4443714"/>
            <a:ext cx="2509540" cy="1530366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txBody>
          <a:bodyPr anchor="ctr"/>
          <a:lstStyle>
            <a:lvl1pPr marL="0" indent="0" algn="ctr">
              <a:buFontTx/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altLang="ko-KR" dirty="0"/>
              <a:t>Place Your Picture Her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81164843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13" Type="http://schemas.openxmlformats.org/officeDocument/2006/relationships/slideLayout" Target="../slideLayouts/slideLayout15.xml"/><Relationship Id="rId1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5.xml"/><Relationship Id="rId7" Type="http://schemas.openxmlformats.org/officeDocument/2006/relationships/slideLayout" Target="../slideLayouts/slideLayout9.xml"/><Relationship Id="rId12" Type="http://schemas.openxmlformats.org/officeDocument/2006/relationships/slideLayout" Target="../slideLayouts/slideLayout14.xml"/><Relationship Id="rId17" Type="http://schemas.openxmlformats.org/officeDocument/2006/relationships/slideLayout" Target="../slideLayouts/slideLayout19.xml"/><Relationship Id="rId2" Type="http://schemas.openxmlformats.org/officeDocument/2006/relationships/slideLayout" Target="../slideLayouts/slideLayout4.xml"/><Relationship Id="rId16" Type="http://schemas.openxmlformats.org/officeDocument/2006/relationships/slideLayout" Target="../slideLayouts/slideLayout18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5" Type="http://schemas.openxmlformats.org/officeDocument/2006/relationships/slideLayout" Target="../slideLayouts/slideLayout7.xml"/><Relationship Id="rId1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12.xml"/><Relationship Id="rId19" Type="http://schemas.openxmlformats.org/officeDocument/2006/relationships/slideLayout" Target="../slideLayouts/slideLayout21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Relationship Id="rId14" Type="http://schemas.openxmlformats.org/officeDocument/2006/relationships/slideLayout" Target="../slideLayouts/slideLayout16.xml"/></Relationships>
</file>

<file path=ppt/slideMasters/_rels/slideMaster3.xml.rels><?xml version="1.0" encoding="UTF-8" standalone="yes"?>
<Relationships xmlns="http://schemas.openxmlformats.org/package/2006/relationships"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2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310465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55" r:id="rId2"/>
  </p:sldLayoutIdLst>
  <p:txStyles>
    <p:titleStyle>
      <a:lvl1pPr algn="l" defTabSz="914423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5" indent="-228605" algn="l" defTabSz="91442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18" indent="-228605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28" indent="-228605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40" indent="-228605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52" indent="-228605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63" indent="-228605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75" indent="-228605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85" indent="-228605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98" indent="-228605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12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23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35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45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58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8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80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92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701742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8" r:id="rId2"/>
    <p:sldLayoutId id="2147483690" r:id="rId3"/>
    <p:sldLayoutId id="2147483691" r:id="rId4"/>
    <p:sldLayoutId id="2147483654" r:id="rId5"/>
    <p:sldLayoutId id="2147483692" r:id="rId6"/>
    <p:sldLayoutId id="2147483693" r:id="rId7"/>
    <p:sldLayoutId id="2147483694" r:id="rId8"/>
    <p:sldLayoutId id="2147483696" r:id="rId9"/>
    <p:sldLayoutId id="2147483699" r:id="rId10"/>
    <p:sldLayoutId id="2147483695" r:id="rId11"/>
    <p:sldLayoutId id="2147483697" r:id="rId12"/>
    <p:sldLayoutId id="2147483698" r:id="rId13"/>
    <p:sldLayoutId id="2147483700" r:id="rId14"/>
    <p:sldLayoutId id="2147483701" r:id="rId15"/>
    <p:sldLayoutId id="2147483702" r:id="rId16"/>
    <p:sldLayoutId id="2147483656" r:id="rId17"/>
    <p:sldLayoutId id="2147483703" r:id="rId18"/>
    <p:sldLayoutId id="2147483687" r:id="rId19"/>
  </p:sldLayoutIdLst>
  <p:txStyles>
    <p:titleStyle>
      <a:lvl1pPr algn="l" defTabSz="914423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5" indent="-228605" algn="l" defTabSz="91442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18" indent="-228605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28" indent="-228605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40" indent="-228605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52" indent="-228605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63" indent="-228605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75" indent="-228605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85" indent="-228605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98" indent="-228605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12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23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35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45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58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8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80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92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751781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</p:sldLayoutIdLst>
  <p:txStyles>
    <p:titleStyle>
      <a:lvl1pPr algn="l" defTabSz="914423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5" indent="-228605" algn="l" defTabSz="91442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18" indent="-228605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28" indent="-228605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40" indent="-228605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52" indent="-228605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63" indent="-228605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75" indent="-228605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85" indent="-228605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98" indent="-228605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12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23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35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45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58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8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80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92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dirty="0"/>
              <a:t>2/6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57513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07" r:id="rId3"/>
    <p:sldLayoutId id="2147483708" r:id="rId4"/>
    <p:sldLayoutId id="2147483709" r:id="rId5"/>
    <p:sldLayoutId id="2147483710" r:id="rId6"/>
    <p:sldLayoutId id="2147483711" r:id="rId7"/>
    <p:sldLayoutId id="2147483712" r:id="rId8"/>
    <p:sldLayoutId id="2147483713" r:id="rId9"/>
    <p:sldLayoutId id="2147483714" r:id="rId10"/>
    <p:sldLayoutId id="2147483715" r:id="rId11"/>
    <p:sldLayoutId id="2147483761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4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67.png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9.xml"/><Relationship Id="rId6" Type="http://schemas.openxmlformats.org/officeDocument/2006/relationships/image" Target="../media/image62.png"/><Relationship Id="rId5" Type="http://schemas.openxmlformats.org/officeDocument/2006/relationships/image" Target="../media/image56.png"/><Relationship Id="rId10" Type="http://schemas.openxmlformats.org/officeDocument/2006/relationships/image" Target="../media/image69.png"/><Relationship Id="rId4" Type="http://schemas.openxmlformats.org/officeDocument/2006/relationships/image" Target="../media/image55.png"/><Relationship Id="rId9" Type="http://schemas.openxmlformats.org/officeDocument/2006/relationships/image" Target="../media/image68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4.emf"/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73.emf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10.xml"/><Relationship Id="rId6" Type="http://schemas.openxmlformats.org/officeDocument/2006/relationships/image" Target="../media/image72.emf"/><Relationship Id="rId5" Type="http://schemas.openxmlformats.org/officeDocument/2006/relationships/image" Target="../media/image71.emf"/><Relationship Id="rId4" Type="http://schemas.openxmlformats.org/officeDocument/2006/relationships/image" Target="../media/image70.png"/><Relationship Id="rId9" Type="http://schemas.openxmlformats.org/officeDocument/2006/relationships/image" Target="../media/image75.emf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png"/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77.png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11.xml"/><Relationship Id="rId6" Type="http://schemas.openxmlformats.org/officeDocument/2006/relationships/image" Target="../media/image68.png"/><Relationship Id="rId5" Type="http://schemas.openxmlformats.org/officeDocument/2006/relationships/image" Target="../media/image54.png"/><Relationship Id="rId4" Type="http://schemas.openxmlformats.org/officeDocument/2006/relationships/image" Target="../media/image76.png"/><Relationship Id="rId9" Type="http://schemas.openxmlformats.org/officeDocument/2006/relationships/image" Target="../media/image78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3.png"/><Relationship Id="rId13" Type="http://schemas.openxmlformats.org/officeDocument/2006/relationships/image" Target="../media/image88.png"/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82.png"/><Relationship Id="rId12" Type="http://schemas.openxmlformats.org/officeDocument/2006/relationships/image" Target="../media/image87.png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12.xml"/><Relationship Id="rId6" Type="http://schemas.openxmlformats.org/officeDocument/2006/relationships/image" Target="../media/image81.png"/><Relationship Id="rId11" Type="http://schemas.openxmlformats.org/officeDocument/2006/relationships/image" Target="../media/image86.png"/><Relationship Id="rId5" Type="http://schemas.openxmlformats.org/officeDocument/2006/relationships/image" Target="../media/image80.png"/><Relationship Id="rId15" Type="http://schemas.openxmlformats.org/officeDocument/2006/relationships/image" Target="../media/image90.png"/><Relationship Id="rId10" Type="http://schemas.openxmlformats.org/officeDocument/2006/relationships/image" Target="../media/image85.png"/><Relationship Id="rId4" Type="http://schemas.openxmlformats.org/officeDocument/2006/relationships/image" Target="../media/image79.png"/><Relationship Id="rId9" Type="http://schemas.openxmlformats.org/officeDocument/2006/relationships/image" Target="../media/image84.png"/><Relationship Id="rId14" Type="http://schemas.openxmlformats.org/officeDocument/2006/relationships/image" Target="../media/image89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13.xml"/><Relationship Id="rId4" Type="http://schemas.openxmlformats.org/officeDocument/2006/relationships/image" Target="../media/image91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8.png"/><Relationship Id="rId3" Type="http://schemas.openxmlformats.org/officeDocument/2006/relationships/notesSlide" Target="../notesSlides/notesSlide14.xml"/><Relationship Id="rId7" Type="http://schemas.openxmlformats.org/officeDocument/2006/relationships/image" Target="../media/image92.png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14.xml"/><Relationship Id="rId6" Type="http://schemas.openxmlformats.org/officeDocument/2006/relationships/image" Target="../media/image37.png"/><Relationship Id="rId5" Type="http://schemas.openxmlformats.org/officeDocument/2006/relationships/image" Target="../media/image83.png"/><Relationship Id="rId4" Type="http://schemas.openxmlformats.org/officeDocument/2006/relationships/image" Target="../media/image82.png"/><Relationship Id="rId9" Type="http://schemas.openxmlformats.org/officeDocument/2006/relationships/image" Target="../media/image85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13" Type="http://schemas.openxmlformats.org/officeDocument/2006/relationships/image" Target="../media/image31.png"/><Relationship Id="rId18" Type="http://schemas.openxmlformats.org/officeDocument/2006/relationships/image" Target="../media/image96.png"/><Relationship Id="rId26" Type="http://schemas.openxmlformats.org/officeDocument/2006/relationships/image" Target="../media/image104.png"/><Relationship Id="rId3" Type="http://schemas.openxmlformats.org/officeDocument/2006/relationships/notesSlide" Target="../notesSlides/notesSlide15.xml"/><Relationship Id="rId21" Type="http://schemas.openxmlformats.org/officeDocument/2006/relationships/image" Target="../media/image99.png"/><Relationship Id="rId7" Type="http://schemas.openxmlformats.org/officeDocument/2006/relationships/image" Target="../media/image21.png"/><Relationship Id="rId12" Type="http://schemas.openxmlformats.org/officeDocument/2006/relationships/image" Target="../media/image30.png"/><Relationship Id="rId17" Type="http://schemas.openxmlformats.org/officeDocument/2006/relationships/image" Target="../media/image95.png"/><Relationship Id="rId25" Type="http://schemas.openxmlformats.org/officeDocument/2006/relationships/image" Target="../media/image103.png"/><Relationship Id="rId2" Type="http://schemas.openxmlformats.org/officeDocument/2006/relationships/slideLayout" Target="../slideLayouts/slideLayout28.xml"/><Relationship Id="rId16" Type="http://schemas.openxmlformats.org/officeDocument/2006/relationships/image" Target="../media/image94.png"/><Relationship Id="rId20" Type="http://schemas.openxmlformats.org/officeDocument/2006/relationships/image" Target="../media/image98.png"/><Relationship Id="rId29" Type="http://schemas.openxmlformats.org/officeDocument/2006/relationships/image" Target="../media/image107.png"/><Relationship Id="rId1" Type="http://schemas.openxmlformats.org/officeDocument/2006/relationships/tags" Target="../tags/tag15.xml"/><Relationship Id="rId6" Type="http://schemas.openxmlformats.org/officeDocument/2006/relationships/image" Target="../media/image20.png"/><Relationship Id="rId11" Type="http://schemas.openxmlformats.org/officeDocument/2006/relationships/image" Target="../media/image29.png"/><Relationship Id="rId24" Type="http://schemas.openxmlformats.org/officeDocument/2006/relationships/image" Target="../media/image102.png"/><Relationship Id="rId5" Type="http://schemas.openxmlformats.org/officeDocument/2006/relationships/image" Target="../media/image19.png"/><Relationship Id="rId15" Type="http://schemas.openxmlformats.org/officeDocument/2006/relationships/image" Target="../media/image93.png"/><Relationship Id="rId23" Type="http://schemas.openxmlformats.org/officeDocument/2006/relationships/image" Target="../media/image101.png"/><Relationship Id="rId28" Type="http://schemas.openxmlformats.org/officeDocument/2006/relationships/image" Target="../media/image106.png"/><Relationship Id="rId10" Type="http://schemas.openxmlformats.org/officeDocument/2006/relationships/image" Target="../media/image28.png"/><Relationship Id="rId19" Type="http://schemas.openxmlformats.org/officeDocument/2006/relationships/image" Target="../media/image97.png"/><Relationship Id="rId4" Type="http://schemas.openxmlformats.org/officeDocument/2006/relationships/image" Target="../media/image18.png"/><Relationship Id="rId9" Type="http://schemas.openxmlformats.org/officeDocument/2006/relationships/image" Target="../media/image27.png"/><Relationship Id="rId14" Type="http://schemas.openxmlformats.org/officeDocument/2006/relationships/image" Target="../media/image33.png"/><Relationship Id="rId22" Type="http://schemas.openxmlformats.org/officeDocument/2006/relationships/image" Target="../media/image100.png"/><Relationship Id="rId27" Type="http://schemas.openxmlformats.org/officeDocument/2006/relationships/image" Target="../media/image105.png"/><Relationship Id="rId30" Type="http://schemas.openxmlformats.org/officeDocument/2006/relationships/image" Target="../media/image108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16.xml"/><Relationship Id="rId6" Type="http://schemas.openxmlformats.org/officeDocument/2006/relationships/image" Target="../media/image111.png"/><Relationship Id="rId5" Type="http://schemas.openxmlformats.org/officeDocument/2006/relationships/image" Target="../media/image110.png"/><Relationship Id="rId4" Type="http://schemas.openxmlformats.org/officeDocument/2006/relationships/image" Target="../media/image109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17.xml"/><Relationship Id="rId4" Type="http://schemas.openxmlformats.org/officeDocument/2006/relationships/image" Target="../media/image75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18.xml"/><Relationship Id="rId4" Type="http://schemas.openxmlformats.org/officeDocument/2006/relationships/image" Target="../media/image112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13" Type="http://schemas.openxmlformats.org/officeDocument/2006/relationships/image" Target="../media/image17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1.png"/><Relationship Id="rId12" Type="http://schemas.openxmlformats.org/officeDocument/2006/relationships/image" Target="../media/image16.png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1.xml"/><Relationship Id="rId6" Type="http://schemas.openxmlformats.org/officeDocument/2006/relationships/image" Target="../media/image10.png"/><Relationship Id="rId11" Type="http://schemas.openxmlformats.org/officeDocument/2006/relationships/image" Target="../media/image15.png"/><Relationship Id="rId5" Type="http://schemas.openxmlformats.org/officeDocument/2006/relationships/image" Target="../media/image9.png"/><Relationship Id="rId10" Type="http://schemas.openxmlformats.org/officeDocument/2006/relationships/image" Target="../media/image14.png"/><Relationship Id="rId4" Type="http://schemas.openxmlformats.org/officeDocument/2006/relationships/image" Target="../media/image8.png"/><Relationship Id="rId9" Type="http://schemas.openxmlformats.org/officeDocument/2006/relationships/image" Target="../media/image13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19.xml"/><Relationship Id="rId4" Type="http://schemas.openxmlformats.org/officeDocument/2006/relationships/image" Target="../media/image113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20.xml"/><Relationship Id="rId6" Type="http://schemas.openxmlformats.org/officeDocument/2006/relationships/image" Target="../media/image116.emf"/><Relationship Id="rId5" Type="http://schemas.openxmlformats.org/officeDocument/2006/relationships/image" Target="../media/image115.emf"/><Relationship Id="rId4" Type="http://schemas.openxmlformats.org/officeDocument/2006/relationships/image" Target="../media/image114.e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21.xml"/><Relationship Id="rId6" Type="http://schemas.openxmlformats.org/officeDocument/2006/relationships/image" Target="../media/image119.emf"/><Relationship Id="rId5" Type="http://schemas.openxmlformats.org/officeDocument/2006/relationships/image" Target="../media/image118.emf"/><Relationship Id="rId4" Type="http://schemas.openxmlformats.org/officeDocument/2006/relationships/image" Target="../media/image117.emf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4.emf"/><Relationship Id="rId3" Type="http://schemas.openxmlformats.org/officeDocument/2006/relationships/notesSlide" Target="../notesSlides/notesSlide22.xml"/><Relationship Id="rId7" Type="http://schemas.openxmlformats.org/officeDocument/2006/relationships/image" Target="../media/image123.emf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22.xml"/><Relationship Id="rId6" Type="http://schemas.openxmlformats.org/officeDocument/2006/relationships/image" Target="../media/image122.emf"/><Relationship Id="rId5" Type="http://schemas.openxmlformats.org/officeDocument/2006/relationships/image" Target="../media/image121.emf"/><Relationship Id="rId4" Type="http://schemas.openxmlformats.org/officeDocument/2006/relationships/image" Target="../media/image120.emf"/><Relationship Id="rId9" Type="http://schemas.openxmlformats.org/officeDocument/2006/relationships/image" Target="../media/image125.emf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0.emf"/><Relationship Id="rId3" Type="http://schemas.openxmlformats.org/officeDocument/2006/relationships/notesSlide" Target="../notesSlides/notesSlide23.xml"/><Relationship Id="rId7" Type="http://schemas.openxmlformats.org/officeDocument/2006/relationships/image" Target="../media/image129.emf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23.xml"/><Relationship Id="rId6" Type="http://schemas.openxmlformats.org/officeDocument/2006/relationships/image" Target="../media/image128.emf"/><Relationship Id="rId5" Type="http://schemas.openxmlformats.org/officeDocument/2006/relationships/image" Target="../media/image127.emf"/><Relationship Id="rId4" Type="http://schemas.openxmlformats.org/officeDocument/2006/relationships/image" Target="../media/image126.emf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.xml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24.xml"/><Relationship Id="rId5" Type="http://schemas.openxmlformats.org/officeDocument/2006/relationships/image" Target="../media/image132.emf"/><Relationship Id="rId4" Type="http://schemas.openxmlformats.org/officeDocument/2006/relationships/image" Target="../media/image131.emf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.xml"/><Relationship Id="rId7" Type="http://schemas.openxmlformats.org/officeDocument/2006/relationships/image" Target="../media/image135.emf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25.xml"/><Relationship Id="rId6" Type="http://schemas.openxmlformats.org/officeDocument/2006/relationships/image" Target="../media/image134.emf"/><Relationship Id="rId5" Type="http://schemas.openxmlformats.org/officeDocument/2006/relationships/image" Target="../media/image132.emf"/><Relationship Id="rId4" Type="http://schemas.openxmlformats.org/officeDocument/2006/relationships/image" Target="../media/image133.emf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.xml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26.xml"/><Relationship Id="rId4" Type="http://schemas.openxmlformats.org/officeDocument/2006/relationships/image" Target="../media/image136.emf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.xml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27.xml"/><Relationship Id="rId6" Type="http://schemas.openxmlformats.org/officeDocument/2006/relationships/image" Target="../media/image139.emf"/><Relationship Id="rId5" Type="http://schemas.openxmlformats.org/officeDocument/2006/relationships/image" Target="../media/image138.emf"/><Relationship Id="rId4" Type="http://schemas.openxmlformats.org/officeDocument/2006/relationships/image" Target="../media/image137.emf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8.xml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28.xml"/><Relationship Id="rId5" Type="http://schemas.openxmlformats.org/officeDocument/2006/relationships/image" Target="../media/image116.emf"/><Relationship Id="rId4" Type="http://schemas.openxmlformats.org/officeDocument/2006/relationships/image" Target="../media/image140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13" Type="http://schemas.openxmlformats.org/officeDocument/2006/relationships/image" Target="../media/image27.png"/><Relationship Id="rId18" Type="http://schemas.openxmlformats.org/officeDocument/2006/relationships/image" Target="../media/image32.png"/><Relationship Id="rId3" Type="http://schemas.openxmlformats.org/officeDocument/2006/relationships/notesSlide" Target="../notesSlides/notesSlide2.xml"/><Relationship Id="rId21" Type="http://schemas.openxmlformats.org/officeDocument/2006/relationships/image" Target="../media/image35.png"/><Relationship Id="rId7" Type="http://schemas.openxmlformats.org/officeDocument/2006/relationships/image" Target="../media/image21.png"/><Relationship Id="rId12" Type="http://schemas.openxmlformats.org/officeDocument/2006/relationships/image" Target="../media/image26.png"/><Relationship Id="rId17" Type="http://schemas.openxmlformats.org/officeDocument/2006/relationships/image" Target="../media/image31.png"/><Relationship Id="rId2" Type="http://schemas.openxmlformats.org/officeDocument/2006/relationships/slideLayout" Target="../slideLayouts/slideLayout28.xml"/><Relationship Id="rId16" Type="http://schemas.openxmlformats.org/officeDocument/2006/relationships/image" Target="../media/image30.png"/><Relationship Id="rId20" Type="http://schemas.openxmlformats.org/officeDocument/2006/relationships/image" Target="../media/image34.png"/><Relationship Id="rId1" Type="http://schemas.openxmlformats.org/officeDocument/2006/relationships/tags" Target="../tags/tag2.xml"/><Relationship Id="rId6" Type="http://schemas.openxmlformats.org/officeDocument/2006/relationships/image" Target="../media/image20.png"/><Relationship Id="rId11" Type="http://schemas.openxmlformats.org/officeDocument/2006/relationships/image" Target="../media/image25.png"/><Relationship Id="rId5" Type="http://schemas.openxmlformats.org/officeDocument/2006/relationships/image" Target="../media/image19.png"/><Relationship Id="rId15" Type="http://schemas.openxmlformats.org/officeDocument/2006/relationships/image" Target="../media/image29.png"/><Relationship Id="rId23" Type="http://schemas.openxmlformats.org/officeDocument/2006/relationships/image" Target="../media/image37.png"/><Relationship Id="rId10" Type="http://schemas.openxmlformats.org/officeDocument/2006/relationships/image" Target="../media/image24.png"/><Relationship Id="rId19" Type="http://schemas.openxmlformats.org/officeDocument/2006/relationships/image" Target="../media/image33.png"/><Relationship Id="rId4" Type="http://schemas.openxmlformats.org/officeDocument/2006/relationships/image" Target="../media/image18.png"/><Relationship Id="rId9" Type="http://schemas.openxmlformats.org/officeDocument/2006/relationships/image" Target="../media/image23.png"/><Relationship Id="rId14" Type="http://schemas.openxmlformats.org/officeDocument/2006/relationships/image" Target="../media/image28.png"/><Relationship Id="rId22" Type="http://schemas.openxmlformats.org/officeDocument/2006/relationships/image" Target="../media/image36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.xml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29.xml"/><Relationship Id="rId6" Type="http://schemas.openxmlformats.org/officeDocument/2006/relationships/image" Target="../media/image143.png"/><Relationship Id="rId5" Type="http://schemas.openxmlformats.org/officeDocument/2006/relationships/image" Target="../media/image142.png"/><Relationship Id="rId4" Type="http://schemas.openxmlformats.org/officeDocument/2006/relationships/image" Target="../media/image141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0.xml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30.xml"/><Relationship Id="rId6" Type="http://schemas.openxmlformats.org/officeDocument/2006/relationships/hyperlink" Target="http://www.cs.toronto.edu/~hinton/absps/JMLRdropout.pdf" TargetMode="External"/><Relationship Id="rId5" Type="http://schemas.openxmlformats.org/officeDocument/2006/relationships/image" Target="../media/image145.png"/><Relationship Id="rId4" Type="http://schemas.openxmlformats.org/officeDocument/2006/relationships/image" Target="../media/image144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1.xml"/><Relationship Id="rId7" Type="http://schemas.openxmlformats.org/officeDocument/2006/relationships/image" Target="../media/image149.png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31.xml"/><Relationship Id="rId6" Type="http://schemas.openxmlformats.org/officeDocument/2006/relationships/image" Target="../media/image148.png"/><Relationship Id="rId5" Type="http://schemas.openxmlformats.org/officeDocument/2006/relationships/image" Target="../media/image147.png"/><Relationship Id="rId4" Type="http://schemas.openxmlformats.org/officeDocument/2006/relationships/image" Target="../media/image146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2.xml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32.xml"/><Relationship Id="rId5" Type="http://schemas.openxmlformats.org/officeDocument/2006/relationships/image" Target="../media/image151.png"/><Relationship Id="rId4" Type="http://schemas.openxmlformats.org/officeDocument/2006/relationships/image" Target="../media/image150.jpe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3.xml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33.xml"/><Relationship Id="rId5" Type="http://schemas.openxmlformats.org/officeDocument/2006/relationships/image" Target="../media/image152.png"/><Relationship Id="rId4" Type="http://schemas.openxmlformats.org/officeDocument/2006/relationships/image" Target="../media/image151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4.xml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34.xml"/><Relationship Id="rId4" Type="http://schemas.openxmlformats.org/officeDocument/2006/relationships/image" Target="../media/image151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5.xml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35.xml"/><Relationship Id="rId5" Type="http://schemas.openxmlformats.org/officeDocument/2006/relationships/image" Target="../media/image153.png"/><Relationship Id="rId4" Type="http://schemas.openxmlformats.org/officeDocument/2006/relationships/image" Target="../media/image151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6.xml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36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7.xml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37.xml"/><Relationship Id="rId5" Type="http://schemas.openxmlformats.org/officeDocument/2006/relationships/image" Target="../media/image155.png"/><Relationship Id="rId4" Type="http://schemas.openxmlformats.org/officeDocument/2006/relationships/image" Target="../media/image154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8.xml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38.xml"/><Relationship Id="rId5" Type="http://schemas.openxmlformats.org/officeDocument/2006/relationships/hyperlink" Target="https://www.researchgate.net/publication/326534371_Estimating_spatial_correlations_from_CPT_data_using_neural_networks_and_random_fields" TargetMode="External"/><Relationship Id="rId4" Type="http://schemas.openxmlformats.org/officeDocument/2006/relationships/image" Target="../media/image156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22.png"/><Relationship Id="rId12" Type="http://schemas.openxmlformats.org/officeDocument/2006/relationships/image" Target="../media/image42.png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3.xml"/><Relationship Id="rId6" Type="http://schemas.openxmlformats.org/officeDocument/2006/relationships/image" Target="../media/image18.png"/><Relationship Id="rId11" Type="http://schemas.openxmlformats.org/officeDocument/2006/relationships/image" Target="../media/image41.png"/><Relationship Id="rId5" Type="http://schemas.openxmlformats.org/officeDocument/2006/relationships/image" Target="../media/image38.png"/><Relationship Id="rId10" Type="http://schemas.openxmlformats.org/officeDocument/2006/relationships/image" Target="../media/image40.png"/><Relationship Id="rId4" Type="http://schemas.openxmlformats.org/officeDocument/2006/relationships/image" Target="../media/image19.png"/><Relationship Id="rId9" Type="http://schemas.openxmlformats.org/officeDocument/2006/relationships/image" Target="../media/image39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9.xml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39.xml"/><Relationship Id="rId5" Type="http://schemas.openxmlformats.org/officeDocument/2006/relationships/hyperlink" Target="https://papers.nips.cc/paper/4824-imagenet-classification-with-deep-convolutional-neural-networks.pdf" TargetMode="External"/><Relationship Id="rId4" Type="http://schemas.openxmlformats.org/officeDocument/2006/relationships/image" Target="../media/image157.jp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0.xml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40.xml"/><Relationship Id="rId5" Type="http://schemas.openxmlformats.org/officeDocument/2006/relationships/hyperlink" Target="https://science.sciencemag.org/content/313/5786/504.full" TargetMode="External"/><Relationship Id="rId4" Type="http://schemas.openxmlformats.org/officeDocument/2006/relationships/image" Target="../media/image158.png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image" Target="../media/image24.png"/><Relationship Id="rId18" Type="http://schemas.openxmlformats.org/officeDocument/2006/relationships/image" Target="../media/image163.png"/><Relationship Id="rId3" Type="http://schemas.openxmlformats.org/officeDocument/2006/relationships/notesSlide" Target="../notesSlides/notesSlide41.xml"/><Relationship Id="rId21" Type="http://schemas.openxmlformats.org/officeDocument/2006/relationships/image" Target="../media/image166.png"/><Relationship Id="rId7" Type="http://schemas.openxmlformats.org/officeDocument/2006/relationships/image" Target="../media/image18.png"/><Relationship Id="rId12" Type="http://schemas.openxmlformats.org/officeDocument/2006/relationships/image" Target="../media/image23.png"/><Relationship Id="rId17" Type="http://schemas.openxmlformats.org/officeDocument/2006/relationships/image" Target="../media/image162.png"/><Relationship Id="rId2" Type="http://schemas.openxmlformats.org/officeDocument/2006/relationships/slideLayout" Target="../slideLayouts/slideLayout28.xml"/><Relationship Id="rId16" Type="http://schemas.openxmlformats.org/officeDocument/2006/relationships/image" Target="../media/image161.png"/><Relationship Id="rId20" Type="http://schemas.openxmlformats.org/officeDocument/2006/relationships/image" Target="../media/image165.png"/><Relationship Id="rId1" Type="http://schemas.openxmlformats.org/officeDocument/2006/relationships/tags" Target="../tags/tag41.xml"/><Relationship Id="rId6" Type="http://schemas.openxmlformats.org/officeDocument/2006/relationships/image" Target="../media/image160.png"/><Relationship Id="rId11" Type="http://schemas.openxmlformats.org/officeDocument/2006/relationships/image" Target="../media/image22.png"/><Relationship Id="rId5" Type="http://schemas.openxmlformats.org/officeDocument/2006/relationships/image" Target="../media/image159.png"/><Relationship Id="rId15" Type="http://schemas.openxmlformats.org/officeDocument/2006/relationships/image" Target="../media/image31.png"/><Relationship Id="rId10" Type="http://schemas.openxmlformats.org/officeDocument/2006/relationships/image" Target="../media/image21.png"/><Relationship Id="rId19" Type="http://schemas.openxmlformats.org/officeDocument/2006/relationships/image" Target="../media/image164.png"/><Relationship Id="rId4" Type="http://schemas.openxmlformats.org/officeDocument/2006/relationships/image" Target="../media/image34.png"/><Relationship Id="rId9" Type="http://schemas.openxmlformats.org/officeDocument/2006/relationships/image" Target="../media/image20.png"/><Relationship Id="rId14" Type="http://schemas.openxmlformats.org/officeDocument/2006/relationships/image" Target="../media/image25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2.xml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42.xml"/><Relationship Id="rId6" Type="http://schemas.openxmlformats.org/officeDocument/2006/relationships/image" Target="../media/image168.png"/><Relationship Id="rId5" Type="http://schemas.openxmlformats.org/officeDocument/2006/relationships/hyperlink" Target="http://www.asimovinstitute.org/neural-network-zoo/" TargetMode="External"/><Relationship Id="rId4" Type="http://schemas.openxmlformats.org/officeDocument/2006/relationships/image" Target="../media/image167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45.png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4.xml"/><Relationship Id="rId6" Type="http://schemas.openxmlformats.org/officeDocument/2006/relationships/image" Target="../media/image44.png"/><Relationship Id="rId5" Type="http://schemas.openxmlformats.org/officeDocument/2006/relationships/image" Target="../media/image43.png"/><Relationship Id="rId4" Type="http://schemas.openxmlformats.org/officeDocument/2006/relationships/image" Target="../media/image40.png"/><Relationship Id="rId9" Type="http://schemas.openxmlformats.org/officeDocument/2006/relationships/image" Target="../media/image47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32.png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5.xml"/><Relationship Id="rId6" Type="http://schemas.openxmlformats.org/officeDocument/2006/relationships/image" Target="../media/image50.png"/><Relationship Id="rId11" Type="http://schemas.openxmlformats.org/officeDocument/2006/relationships/image" Target="../media/image51.png"/><Relationship Id="rId5" Type="http://schemas.openxmlformats.org/officeDocument/2006/relationships/image" Target="../media/image49.png"/><Relationship Id="rId10" Type="http://schemas.openxmlformats.org/officeDocument/2006/relationships/image" Target="../media/image35.png"/><Relationship Id="rId4" Type="http://schemas.openxmlformats.org/officeDocument/2006/relationships/image" Target="../media/image48.png"/><Relationship Id="rId9" Type="http://schemas.openxmlformats.org/officeDocument/2006/relationships/image" Target="../media/image3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7" Type="http://schemas.openxmlformats.org/officeDocument/2006/relationships/image" Target="../media/image54.png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6.xml"/><Relationship Id="rId6" Type="http://schemas.openxmlformats.org/officeDocument/2006/relationships/image" Target="../media/image53.png"/><Relationship Id="rId5" Type="http://schemas.openxmlformats.org/officeDocument/2006/relationships/image" Target="../media/image52.png"/><Relationship Id="rId4" Type="http://schemas.openxmlformats.org/officeDocument/2006/relationships/image" Target="../media/image29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pn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58.png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7.xml"/><Relationship Id="rId6" Type="http://schemas.openxmlformats.org/officeDocument/2006/relationships/image" Target="../media/image57.png"/><Relationship Id="rId11" Type="http://schemas.openxmlformats.org/officeDocument/2006/relationships/image" Target="../media/image62.png"/><Relationship Id="rId5" Type="http://schemas.openxmlformats.org/officeDocument/2006/relationships/image" Target="../media/image56.png"/><Relationship Id="rId10" Type="http://schemas.openxmlformats.org/officeDocument/2006/relationships/image" Target="../media/image61.png"/><Relationship Id="rId4" Type="http://schemas.openxmlformats.org/officeDocument/2006/relationships/image" Target="../media/image55.png"/><Relationship Id="rId9" Type="http://schemas.openxmlformats.org/officeDocument/2006/relationships/image" Target="../media/image60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5.png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64.png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8.xml"/><Relationship Id="rId6" Type="http://schemas.openxmlformats.org/officeDocument/2006/relationships/image" Target="../media/image63.png"/><Relationship Id="rId11" Type="http://schemas.openxmlformats.org/officeDocument/2006/relationships/image" Target="../media/image66.png"/><Relationship Id="rId5" Type="http://schemas.openxmlformats.org/officeDocument/2006/relationships/image" Target="../media/image56.png"/><Relationship Id="rId10" Type="http://schemas.openxmlformats.org/officeDocument/2006/relationships/image" Target="../media/image62.png"/><Relationship Id="rId4" Type="http://schemas.openxmlformats.org/officeDocument/2006/relationships/image" Target="../media/image55.png"/><Relationship Id="rId9" Type="http://schemas.openxmlformats.org/officeDocument/2006/relationships/image" Target="../media/image6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alphaModFix amt="87000"/>
            <a:lum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Texturizer trans="21000" scaling="48"/>
                    </a14:imgEffect>
                  </a14:imgLayer>
                </a14:imgProps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6ACEF72F-2DBC-4468-A150-BEE7111E59BF}"/>
              </a:ext>
            </a:extLst>
          </p:cNvPr>
          <p:cNvGrpSpPr/>
          <p:nvPr/>
        </p:nvGrpSpPr>
        <p:grpSpPr>
          <a:xfrm>
            <a:off x="2741395" y="4867156"/>
            <a:ext cx="10876633" cy="1651347"/>
            <a:chOff x="1315366" y="2690891"/>
            <a:chExt cx="10876633" cy="1651347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D627A97D-D8E2-4240-9113-6E033FC81188}"/>
                </a:ext>
              </a:extLst>
            </p:cNvPr>
            <p:cNvSpPr/>
            <p:nvPr/>
          </p:nvSpPr>
          <p:spPr>
            <a:xfrm>
              <a:off x="1315366" y="2690891"/>
              <a:ext cx="10876633" cy="1651347"/>
            </a:xfrm>
            <a:prstGeom prst="rect">
              <a:avLst/>
            </a:prstGeom>
            <a:gradFill flip="none" rotWithShape="1">
              <a:gsLst>
                <a:gs pos="0">
                  <a:schemeClr val="tx1">
                    <a:lumMod val="95000"/>
                    <a:lumOff val="5000"/>
                    <a:alpha val="90000"/>
                  </a:schemeClr>
                </a:gs>
                <a:gs pos="42000">
                  <a:schemeClr val="tx1">
                    <a:alpha val="76000"/>
                  </a:schemeClr>
                </a:gs>
                <a:gs pos="75000">
                  <a:schemeClr val="tx1">
                    <a:alpha val="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948A2979-A456-4286-B8FC-8FF4C0C58EFD}"/>
                </a:ext>
              </a:extLst>
            </p:cNvPr>
            <p:cNvSpPr txBox="1"/>
            <p:nvPr/>
          </p:nvSpPr>
          <p:spPr>
            <a:xfrm>
              <a:off x="1764631" y="2903041"/>
              <a:ext cx="8601290" cy="830997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r>
                <a:rPr lang="tr-TR" altLang="ko-KR" sz="4800" dirty="0" err="1">
                  <a:solidFill>
                    <a:schemeClr val="bg1"/>
                  </a:solidFill>
                  <a:cs typeface="Arial" pitchFamily="34" charset="0"/>
                </a:rPr>
                <a:t>Neural</a:t>
              </a:r>
              <a:r>
                <a:rPr lang="tr-TR" altLang="ko-KR" sz="4800" dirty="0">
                  <a:solidFill>
                    <a:schemeClr val="bg1"/>
                  </a:solidFill>
                  <a:cs typeface="Arial" pitchFamily="34" charset="0"/>
                </a:rPr>
                <a:t> Networks</a:t>
              </a:r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35784B83-6120-4373-9C1F-DC8EEE6D58B3}"/>
                </a:ext>
              </a:extLst>
            </p:cNvPr>
            <p:cNvSpPr txBox="1"/>
            <p:nvPr/>
          </p:nvSpPr>
          <p:spPr>
            <a:xfrm>
              <a:off x="1764631" y="3658482"/>
              <a:ext cx="5625363" cy="379656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r>
                <a:rPr lang="tr-TR" altLang="ko-KR" sz="1867" dirty="0">
                  <a:solidFill>
                    <a:schemeClr val="bg1"/>
                  </a:solidFill>
                  <a:cs typeface="Arial" pitchFamily="34" charset="0"/>
                </a:rPr>
                <a:t>Özgür Martin</a:t>
              </a:r>
            </a:p>
          </p:txBody>
        </p:sp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ECB2BC89-5EAD-422C-B9A0-5A89984FB49A}"/>
              </a:ext>
            </a:extLst>
          </p:cNvPr>
          <p:cNvSpPr/>
          <p:nvPr/>
        </p:nvSpPr>
        <p:spPr>
          <a:xfrm>
            <a:off x="0" y="0"/>
            <a:ext cx="459874" cy="68580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B5E05F3-0377-4973-BD77-670DBAC5A268}"/>
              </a:ext>
            </a:extLst>
          </p:cNvPr>
          <p:cNvSpPr/>
          <p:nvPr/>
        </p:nvSpPr>
        <p:spPr>
          <a:xfrm>
            <a:off x="-4786" y="6518503"/>
            <a:ext cx="12196786" cy="339497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</p:spTree>
    <p:extLst>
      <p:ext uri="{BB962C8B-B14F-4D97-AF65-F5344CB8AC3E}">
        <p14:creationId xmlns:p14="http://schemas.microsoft.com/office/powerpoint/2010/main" val="66146557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E6EF2DD4-1428-4F29-BED0-012580DEB727}"/>
              </a:ext>
            </a:extLst>
          </p:cNvPr>
          <p:cNvGrpSpPr/>
          <p:nvPr/>
        </p:nvGrpSpPr>
        <p:grpSpPr>
          <a:xfrm>
            <a:off x="1" y="6496048"/>
            <a:ext cx="12192000" cy="381103"/>
            <a:chOff x="-1" y="6496048"/>
            <a:chExt cx="12192001" cy="361952"/>
          </a:xfrm>
        </p:grpSpPr>
        <p:sp>
          <p:nvSpPr>
            <p:cNvPr id="17" name="Dikdörtgen 10">
              <a:extLst>
                <a:ext uri="{FF2B5EF4-FFF2-40B4-BE49-F238E27FC236}">
                  <a16:creationId xmlns:a16="http://schemas.microsoft.com/office/drawing/2014/main" id="{C14596DF-271A-400A-B0AE-693FCDF2F217}"/>
                </a:ext>
              </a:extLst>
            </p:cNvPr>
            <p:cNvSpPr/>
            <p:nvPr/>
          </p:nvSpPr>
          <p:spPr>
            <a:xfrm>
              <a:off x="10115547" y="6496049"/>
              <a:ext cx="2076453" cy="361951"/>
            </a:xfrm>
            <a:prstGeom prst="rect">
              <a:avLst/>
            </a:prstGeom>
            <a:solidFill>
              <a:srgbClr val="2198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dirty="0"/>
                <a:t>   Özgür Martin</a:t>
              </a:r>
            </a:p>
          </p:txBody>
        </p:sp>
        <p:sp>
          <p:nvSpPr>
            <p:cNvPr id="18" name="Dikdörtgen 10">
              <a:extLst>
                <a:ext uri="{FF2B5EF4-FFF2-40B4-BE49-F238E27FC236}">
                  <a16:creationId xmlns:a16="http://schemas.microsoft.com/office/drawing/2014/main" id="{84A5B1F6-64B9-4792-8088-33FD44F5342F}"/>
                </a:ext>
              </a:extLst>
            </p:cNvPr>
            <p:cNvSpPr/>
            <p:nvPr/>
          </p:nvSpPr>
          <p:spPr>
            <a:xfrm>
              <a:off x="-1" y="6496048"/>
              <a:ext cx="10151743" cy="361952"/>
            </a:xfrm>
            <a:prstGeom prst="rect">
              <a:avLst/>
            </a:prstGeom>
            <a:solidFill>
              <a:srgbClr val="2198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altLang="ko-KR" dirty="0" err="1">
                  <a:solidFill>
                    <a:schemeClr val="bg1"/>
                  </a:solidFill>
                  <a:cs typeface="Arial" pitchFamily="34" charset="0"/>
                </a:rPr>
                <a:t>Neural</a:t>
              </a:r>
              <a:r>
                <a:rPr lang="tr-TR" altLang="ko-KR" dirty="0">
                  <a:solidFill>
                    <a:schemeClr val="bg1"/>
                  </a:solidFill>
                  <a:cs typeface="Arial" pitchFamily="34" charset="0"/>
                </a:rPr>
                <a:t> Networks</a:t>
              </a:r>
            </a:p>
          </p:txBody>
        </p:sp>
      </p:grpSp>
      <p:sp>
        <p:nvSpPr>
          <p:cNvPr id="5" name="CustomShape 1">
            <a:extLst>
              <a:ext uri="{FF2B5EF4-FFF2-40B4-BE49-F238E27FC236}">
                <a16:creationId xmlns:a16="http://schemas.microsoft.com/office/drawing/2014/main" id="{ECF54DE9-23B7-C7F9-9F92-D3D0FEBFF0CD}"/>
              </a:ext>
            </a:extLst>
          </p:cNvPr>
          <p:cNvSpPr/>
          <p:nvPr/>
        </p:nvSpPr>
        <p:spPr>
          <a:xfrm>
            <a:off x="609328" y="361571"/>
            <a:ext cx="8170920" cy="106488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>
            <a:noAutofit/>
          </a:bodyPr>
          <a:lstStyle/>
          <a:p>
            <a:pPr>
              <a:lnSpc>
                <a:spcPts val="3200"/>
              </a:lnSpc>
            </a:pPr>
            <a:r>
              <a:rPr lang="en-US" sz="2800" b="0" strike="noStrike" spc="-1" dirty="0">
                <a:solidFill>
                  <a:srgbClr val="AB3348"/>
                </a:solidFill>
                <a:latin typeface="Times New Roman"/>
                <a:ea typeface="DejaVu Sans"/>
              </a:rPr>
              <a:t>Network Training</a:t>
            </a:r>
            <a:br>
              <a:rPr dirty="0"/>
            </a:br>
            <a:r>
              <a:rPr lang="en-US" sz="2000" b="0" strike="noStrike" spc="-1" dirty="0">
                <a:solidFill>
                  <a:srgbClr val="AB3348"/>
                </a:solidFill>
                <a:latin typeface="Times New Roman"/>
                <a:ea typeface="DejaVu Sans"/>
              </a:rPr>
              <a:t>Error Functions</a:t>
            </a:r>
            <a:br>
              <a:rPr dirty="0"/>
            </a:br>
            <a:r>
              <a:rPr lang="en-US" sz="1800" b="0" strike="noStrike" spc="-1" dirty="0">
                <a:solidFill>
                  <a:srgbClr val="AB3348"/>
                </a:solidFill>
                <a:latin typeface="Times New Roman"/>
                <a:ea typeface="DejaVu Sans"/>
              </a:rPr>
              <a:t>Multiclass Classification</a:t>
            </a:r>
            <a:endParaRPr lang="en-US" sz="1800" b="0" strike="noStrike" spc="-1" dirty="0">
              <a:latin typeface="Arial"/>
            </a:endParaRPr>
          </a:p>
        </p:txBody>
      </p:sp>
      <p:pic>
        <p:nvPicPr>
          <p:cNvPr id="6" name="Picture 45">
            <a:extLst>
              <a:ext uri="{FF2B5EF4-FFF2-40B4-BE49-F238E27FC236}">
                <a16:creationId xmlns:a16="http://schemas.microsoft.com/office/drawing/2014/main" id="{231E02FA-2D3D-BA3F-76E5-FF045A70FAEE}"/>
              </a:ext>
            </a:extLst>
          </p:cNvPr>
          <p:cNvPicPr/>
          <p:nvPr/>
        </p:nvPicPr>
        <p:blipFill>
          <a:blip r:embed="rId4"/>
          <a:stretch/>
        </p:blipFill>
        <p:spPr>
          <a:xfrm>
            <a:off x="7404868" y="841704"/>
            <a:ext cx="2184840" cy="236160"/>
          </a:xfrm>
          <a:prstGeom prst="rect">
            <a:avLst/>
          </a:prstGeom>
          <a:ln>
            <a:noFill/>
          </a:ln>
        </p:spPr>
      </p:pic>
      <p:pic>
        <p:nvPicPr>
          <p:cNvPr id="7" name="Picture 47">
            <a:extLst>
              <a:ext uri="{FF2B5EF4-FFF2-40B4-BE49-F238E27FC236}">
                <a16:creationId xmlns:a16="http://schemas.microsoft.com/office/drawing/2014/main" id="{DD8D6EAB-18B7-6BA1-3131-6F2E0813CFE2}"/>
              </a:ext>
            </a:extLst>
          </p:cNvPr>
          <p:cNvPicPr/>
          <p:nvPr/>
        </p:nvPicPr>
        <p:blipFill>
          <a:blip r:embed="rId5"/>
          <a:stretch/>
        </p:blipFill>
        <p:spPr>
          <a:xfrm>
            <a:off x="9768988" y="855744"/>
            <a:ext cx="761760" cy="207360"/>
          </a:xfrm>
          <a:prstGeom prst="rect">
            <a:avLst/>
          </a:prstGeom>
          <a:ln>
            <a:noFill/>
          </a:ln>
        </p:spPr>
      </p:pic>
      <p:sp>
        <p:nvSpPr>
          <p:cNvPr id="8" name="CustomShape 2">
            <a:extLst>
              <a:ext uri="{FF2B5EF4-FFF2-40B4-BE49-F238E27FC236}">
                <a16:creationId xmlns:a16="http://schemas.microsoft.com/office/drawing/2014/main" id="{07083D24-57B1-7AEA-1009-C2D457C4F128}"/>
              </a:ext>
            </a:extLst>
          </p:cNvPr>
          <p:cNvSpPr/>
          <p:nvPr/>
        </p:nvSpPr>
        <p:spPr>
          <a:xfrm>
            <a:off x="2088028" y="2572584"/>
            <a:ext cx="1599120" cy="36396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>
            <a:spAutoFit/>
          </a:bodyPr>
          <a:lstStyle/>
          <a:p>
            <a:pPr>
              <a:lnSpc>
                <a:spcPct val="100000"/>
              </a:lnSpc>
            </a:pPr>
            <a:r>
              <a:rPr lang="en-US" sz="1800" b="1" strike="noStrike" spc="-1" dirty="0">
                <a:solidFill>
                  <a:srgbClr val="AB3348"/>
                </a:solidFill>
                <a:latin typeface="Times New Roman"/>
                <a:ea typeface="DejaVu Sans"/>
              </a:rPr>
              <a:t>Cross Entropy</a:t>
            </a:r>
            <a:endParaRPr lang="en-US" sz="1800" b="0" strike="noStrike" spc="-1" dirty="0">
              <a:latin typeface="Arial"/>
            </a:endParaRPr>
          </a:p>
        </p:txBody>
      </p:sp>
      <p:sp>
        <p:nvSpPr>
          <p:cNvPr id="9" name="CustomShape 3">
            <a:extLst>
              <a:ext uri="{FF2B5EF4-FFF2-40B4-BE49-F238E27FC236}">
                <a16:creationId xmlns:a16="http://schemas.microsoft.com/office/drawing/2014/main" id="{4CF9D354-2AC5-6DB8-4840-E252F60CC278}"/>
              </a:ext>
            </a:extLst>
          </p:cNvPr>
          <p:cNvSpPr/>
          <p:nvPr/>
        </p:nvSpPr>
        <p:spPr>
          <a:xfrm>
            <a:off x="5051188" y="5192701"/>
            <a:ext cx="2691720" cy="906840"/>
          </a:xfrm>
          <a:prstGeom prst="rect">
            <a:avLst/>
          </a:prstGeom>
          <a:noFill/>
          <a:ln>
            <a:solidFill>
              <a:srgbClr val="AB3348"/>
            </a:solidFill>
            <a:round/>
          </a:ln>
          <a:effectLst>
            <a:outerShdw blurRad="40000" dist="2304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/>
        </p:style>
      </p:sp>
      <p:pic>
        <p:nvPicPr>
          <p:cNvPr id="10" name="Picture 81">
            <a:extLst>
              <a:ext uri="{FF2B5EF4-FFF2-40B4-BE49-F238E27FC236}">
                <a16:creationId xmlns:a16="http://schemas.microsoft.com/office/drawing/2014/main" id="{64123CC9-7EE6-5043-9160-9F6FEDBB0D87}"/>
              </a:ext>
            </a:extLst>
          </p:cNvPr>
          <p:cNvPicPr/>
          <p:nvPr/>
        </p:nvPicPr>
        <p:blipFill>
          <a:blip r:embed="rId6"/>
          <a:stretch/>
        </p:blipFill>
        <p:spPr>
          <a:xfrm>
            <a:off x="5303188" y="5379541"/>
            <a:ext cx="2187720" cy="533160"/>
          </a:xfrm>
          <a:prstGeom prst="rect">
            <a:avLst/>
          </a:prstGeom>
          <a:ln>
            <a:noFill/>
          </a:ln>
        </p:spPr>
      </p:pic>
      <p:pic>
        <p:nvPicPr>
          <p:cNvPr id="11" name="Picture 2">
            <a:extLst>
              <a:ext uri="{FF2B5EF4-FFF2-40B4-BE49-F238E27FC236}">
                <a16:creationId xmlns:a16="http://schemas.microsoft.com/office/drawing/2014/main" id="{31B173D8-80C0-A7DC-A54B-7CC2A9C75D4D}"/>
              </a:ext>
            </a:extLst>
          </p:cNvPr>
          <p:cNvPicPr/>
          <p:nvPr/>
        </p:nvPicPr>
        <p:blipFill>
          <a:blip r:embed="rId7"/>
          <a:stretch/>
        </p:blipFill>
        <p:spPr>
          <a:xfrm>
            <a:off x="8002828" y="1184064"/>
            <a:ext cx="2527920" cy="261720"/>
          </a:xfrm>
          <a:prstGeom prst="rect">
            <a:avLst/>
          </a:prstGeom>
          <a:ln>
            <a:noFill/>
          </a:ln>
        </p:spPr>
      </p:pic>
      <p:pic>
        <p:nvPicPr>
          <p:cNvPr id="12" name="Picture 17">
            <a:extLst>
              <a:ext uri="{FF2B5EF4-FFF2-40B4-BE49-F238E27FC236}">
                <a16:creationId xmlns:a16="http://schemas.microsoft.com/office/drawing/2014/main" id="{5DB2C749-2190-923D-87A9-ABCA6F08ED1B}"/>
              </a:ext>
            </a:extLst>
          </p:cNvPr>
          <p:cNvPicPr/>
          <p:nvPr/>
        </p:nvPicPr>
        <p:blipFill>
          <a:blip r:embed="rId8"/>
          <a:stretch/>
        </p:blipFill>
        <p:spPr>
          <a:xfrm>
            <a:off x="8665948" y="1707864"/>
            <a:ext cx="1770480" cy="653400"/>
          </a:xfrm>
          <a:prstGeom prst="rect">
            <a:avLst/>
          </a:prstGeom>
          <a:ln>
            <a:noFill/>
          </a:ln>
        </p:spPr>
      </p:pic>
      <p:sp>
        <p:nvSpPr>
          <p:cNvPr id="13" name="CustomShape 4">
            <a:extLst>
              <a:ext uri="{FF2B5EF4-FFF2-40B4-BE49-F238E27FC236}">
                <a16:creationId xmlns:a16="http://schemas.microsoft.com/office/drawing/2014/main" id="{9535294C-F742-4BBE-22F7-D35CB0048E79}"/>
              </a:ext>
            </a:extLst>
          </p:cNvPr>
          <p:cNvSpPr/>
          <p:nvPr/>
        </p:nvSpPr>
        <p:spPr>
          <a:xfrm>
            <a:off x="8571988" y="1624704"/>
            <a:ext cx="1958760" cy="819000"/>
          </a:xfrm>
          <a:prstGeom prst="rect">
            <a:avLst/>
          </a:prstGeom>
          <a:noFill/>
          <a:ln>
            <a:solidFill>
              <a:srgbClr val="AB3348"/>
            </a:solidFill>
            <a:round/>
          </a:ln>
          <a:effectLst>
            <a:outerShdw blurRad="40000" dist="2304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/>
        </p:style>
      </p:sp>
      <p:pic>
        <p:nvPicPr>
          <p:cNvPr id="14" name="Picture 4">
            <a:extLst>
              <a:ext uri="{FF2B5EF4-FFF2-40B4-BE49-F238E27FC236}">
                <a16:creationId xmlns:a16="http://schemas.microsoft.com/office/drawing/2014/main" id="{75871D7B-84A0-C924-D1E5-1AB582E494CF}"/>
              </a:ext>
            </a:extLst>
          </p:cNvPr>
          <p:cNvPicPr/>
          <p:nvPr/>
        </p:nvPicPr>
        <p:blipFill>
          <a:blip r:embed="rId9"/>
          <a:stretch/>
        </p:blipFill>
        <p:spPr>
          <a:xfrm>
            <a:off x="4340548" y="3021864"/>
            <a:ext cx="3402360" cy="699120"/>
          </a:xfrm>
          <a:prstGeom prst="rect">
            <a:avLst/>
          </a:prstGeom>
          <a:ln>
            <a:noFill/>
          </a:ln>
        </p:spPr>
      </p:pic>
      <p:pic>
        <p:nvPicPr>
          <p:cNvPr id="15" name="Picture 6">
            <a:extLst>
              <a:ext uri="{FF2B5EF4-FFF2-40B4-BE49-F238E27FC236}">
                <a16:creationId xmlns:a16="http://schemas.microsoft.com/office/drawing/2014/main" id="{998F375C-992F-123E-BD6D-06C2BF407CFF}"/>
              </a:ext>
            </a:extLst>
          </p:cNvPr>
          <p:cNvPicPr/>
          <p:nvPr/>
        </p:nvPicPr>
        <p:blipFill>
          <a:blip r:embed="rId10"/>
          <a:stretch/>
        </p:blipFill>
        <p:spPr>
          <a:xfrm>
            <a:off x="2292868" y="4150824"/>
            <a:ext cx="2401920" cy="630360"/>
          </a:xfrm>
          <a:prstGeom prst="rect">
            <a:avLst/>
          </a:prstGeom>
          <a:ln>
            <a:noFill/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9805796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E6EF2DD4-1428-4F29-BED0-012580DEB727}"/>
              </a:ext>
            </a:extLst>
          </p:cNvPr>
          <p:cNvGrpSpPr/>
          <p:nvPr/>
        </p:nvGrpSpPr>
        <p:grpSpPr>
          <a:xfrm>
            <a:off x="1" y="6496048"/>
            <a:ext cx="12192000" cy="381103"/>
            <a:chOff x="-1" y="6496048"/>
            <a:chExt cx="12192001" cy="361952"/>
          </a:xfrm>
        </p:grpSpPr>
        <p:sp>
          <p:nvSpPr>
            <p:cNvPr id="17" name="Dikdörtgen 10">
              <a:extLst>
                <a:ext uri="{FF2B5EF4-FFF2-40B4-BE49-F238E27FC236}">
                  <a16:creationId xmlns:a16="http://schemas.microsoft.com/office/drawing/2014/main" id="{C14596DF-271A-400A-B0AE-693FCDF2F217}"/>
                </a:ext>
              </a:extLst>
            </p:cNvPr>
            <p:cNvSpPr/>
            <p:nvPr/>
          </p:nvSpPr>
          <p:spPr>
            <a:xfrm>
              <a:off x="10115547" y="6496049"/>
              <a:ext cx="2076453" cy="361951"/>
            </a:xfrm>
            <a:prstGeom prst="rect">
              <a:avLst/>
            </a:prstGeom>
            <a:solidFill>
              <a:srgbClr val="2198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dirty="0"/>
                <a:t>   Özgür Martin</a:t>
              </a:r>
            </a:p>
          </p:txBody>
        </p:sp>
        <p:sp>
          <p:nvSpPr>
            <p:cNvPr id="18" name="Dikdörtgen 10">
              <a:extLst>
                <a:ext uri="{FF2B5EF4-FFF2-40B4-BE49-F238E27FC236}">
                  <a16:creationId xmlns:a16="http://schemas.microsoft.com/office/drawing/2014/main" id="{84A5B1F6-64B9-4792-8088-33FD44F5342F}"/>
                </a:ext>
              </a:extLst>
            </p:cNvPr>
            <p:cNvSpPr/>
            <p:nvPr/>
          </p:nvSpPr>
          <p:spPr>
            <a:xfrm>
              <a:off x="-1" y="6496048"/>
              <a:ext cx="10151743" cy="361952"/>
            </a:xfrm>
            <a:prstGeom prst="rect">
              <a:avLst/>
            </a:prstGeom>
            <a:solidFill>
              <a:srgbClr val="2198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altLang="ko-KR" dirty="0" err="1">
                  <a:solidFill>
                    <a:schemeClr val="bg1"/>
                  </a:solidFill>
                  <a:cs typeface="Arial" pitchFamily="34" charset="0"/>
                </a:rPr>
                <a:t>Neural</a:t>
              </a:r>
              <a:r>
                <a:rPr lang="tr-TR" altLang="ko-KR" dirty="0">
                  <a:solidFill>
                    <a:schemeClr val="bg1"/>
                  </a:solidFill>
                  <a:cs typeface="Arial" pitchFamily="34" charset="0"/>
                </a:rPr>
                <a:t> Networks</a:t>
              </a:r>
            </a:p>
          </p:txBody>
        </p:sp>
      </p:grpSp>
      <p:sp>
        <p:nvSpPr>
          <p:cNvPr id="5" name="CustomShape 1">
            <a:extLst>
              <a:ext uri="{FF2B5EF4-FFF2-40B4-BE49-F238E27FC236}">
                <a16:creationId xmlns:a16="http://schemas.microsoft.com/office/drawing/2014/main" id="{E22451B3-966A-5D1A-4FF3-582E6E653635}"/>
              </a:ext>
            </a:extLst>
          </p:cNvPr>
          <p:cNvSpPr/>
          <p:nvPr/>
        </p:nvSpPr>
        <p:spPr>
          <a:xfrm>
            <a:off x="648166" y="276480"/>
            <a:ext cx="8170920" cy="106488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>
            <a:noAutofit/>
          </a:bodyPr>
          <a:lstStyle/>
          <a:p>
            <a:pPr>
              <a:lnSpc>
                <a:spcPts val="3200"/>
              </a:lnSpc>
            </a:pPr>
            <a:r>
              <a:rPr lang="en-US" sz="2800" b="0" strike="noStrike" spc="-1" dirty="0">
                <a:solidFill>
                  <a:srgbClr val="AB3348"/>
                </a:solidFill>
                <a:latin typeface="Times New Roman"/>
                <a:ea typeface="DejaVu Sans"/>
              </a:rPr>
              <a:t>Network Training</a:t>
            </a:r>
            <a:br>
              <a:rPr dirty="0"/>
            </a:br>
            <a:r>
              <a:rPr lang="en-US" sz="2000" b="0" strike="noStrike" spc="-1" dirty="0">
                <a:solidFill>
                  <a:srgbClr val="AB3348"/>
                </a:solidFill>
                <a:latin typeface="Times New Roman"/>
                <a:ea typeface="DejaVu Sans"/>
              </a:rPr>
              <a:t>Optimization</a:t>
            </a:r>
            <a:endParaRPr lang="en-US" sz="2000" b="0" strike="noStrike" spc="-1" dirty="0">
              <a:latin typeface="Arial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ED8F5CE-A4EF-F85B-7FAD-3EAD3E67DCFA}"/>
              </a:ext>
            </a:extLst>
          </p:cNvPr>
          <p:cNvSpPr/>
          <p:nvPr/>
        </p:nvSpPr>
        <p:spPr>
          <a:xfrm>
            <a:off x="4264602" y="1374382"/>
            <a:ext cx="3730528" cy="1057896"/>
          </a:xfrm>
          <a:prstGeom prst="rect">
            <a:avLst/>
          </a:prstGeom>
          <a:noFill/>
          <a:ln>
            <a:solidFill>
              <a:srgbClr val="C00000"/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23EC6D5-A797-5B8F-F88D-A4ADFE721BE1}"/>
              </a:ext>
            </a:extLst>
          </p:cNvPr>
          <p:cNvSpPr txBox="1"/>
          <p:nvPr/>
        </p:nvSpPr>
        <p:spPr>
          <a:xfrm>
            <a:off x="2073243" y="2712267"/>
            <a:ext cx="25442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noProof="1">
                <a:solidFill>
                  <a:srgbClr val="C00000"/>
                </a:solidFill>
                <a:latin typeface="Times New Roman"/>
                <a:cs typeface="Times New Roman"/>
              </a:rPr>
              <a:t>(Batch) Gradient Descent</a:t>
            </a:r>
            <a:endParaRPr lang="tr-TR" noProof="1">
              <a:solidFill>
                <a:srgbClr val="C00000"/>
              </a:solidFill>
              <a:latin typeface="Times New Roman"/>
              <a:cs typeface="Times New Roman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DC1615E-7EED-4C21-EA8E-D5EB04646A70}"/>
              </a:ext>
            </a:extLst>
          </p:cNvPr>
          <p:cNvSpPr txBox="1"/>
          <p:nvPr/>
        </p:nvSpPr>
        <p:spPr>
          <a:xfrm>
            <a:off x="2073243" y="3763312"/>
            <a:ext cx="347402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noProof="1">
                <a:solidFill>
                  <a:srgbClr val="C00000"/>
                </a:solidFill>
                <a:latin typeface="Times New Roman"/>
                <a:cs typeface="Times New Roman"/>
              </a:rPr>
              <a:t>Stochastic Gradient Descent (SGD)</a:t>
            </a:r>
            <a:endParaRPr lang="tr-TR" noProof="1">
              <a:solidFill>
                <a:srgbClr val="C00000"/>
              </a:solidFill>
              <a:latin typeface="Times New Roman"/>
              <a:cs typeface="Times New Roman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38B362C-828D-6EEB-7A1E-0E7586D6722E}"/>
              </a:ext>
            </a:extLst>
          </p:cNvPr>
          <p:cNvSpPr txBox="1"/>
          <p:nvPr/>
        </p:nvSpPr>
        <p:spPr>
          <a:xfrm>
            <a:off x="2073243" y="4814357"/>
            <a:ext cx="172996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noProof="1">
                <a:solidFill>
                  <a:srgbClr val="C00000"/>
                </a:solidFill>
                <a:latin typeface="Times New Roman"/>
                <a:cs typeface="Times New Roman"/>
              </a:rPr>
              <a:t>Mini-batch SGD</a:t>
            </a:r>
            <a:endParaRPr lang="tr-TR" noProof="1">
              <a:solidFill>
                <a:srgbClr val="C00000"/>
              </a:solidFill>
              <a:latin typeface="Times New Roman"/>
              <a:cs typeface="Times New Roman"/>
            </a:endParaRP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E31940FE-BCC0-59F5-A88B-EBEF61CE1FFF}"/>
                  </a:ext>
                </a:extLst>
              </p:cNvPr>
              <p:cNvSpPr txBox="1"/>
              <p:nvPr/>
            </p:nvSpPr>
            <p:spPr>
              <a:xfrm>
                <a:off x="9494708" y="2999381"/>
                <a:ext cx="1803764" cy="646331"/>
              </a:xfrm>
              <a:prstGeom prst="rect">
                <a:avLst/>
              </a:prstGeom>
              <a:noFill/>
              <a:ln>
                <a:solidFill>
                  <a:srgbClr val="C00000"/>
                </a:solidFill>
              </a:ln>
            </p:spPr>
            <p:txBody>
              <a:bodyPr wrap="none" rtlCol="0">
                <a:spAutoFit/>
              </a:bodyPr>
              <a:lstStyle/>
              <a:p>
                <a:r>
                  <a:rPr lang="en-US" i="1" dirty="0">
                    <a:latin typeface="Times New Roman" panose="02020603050405020304" pitchFamily="18" charset="0"/>
                    <a:cs typeface="Times New Roman" panose="02020603050405020304" pitchFamily="18" charset="0"/>
                    <a:sym typeface="Symbol" panose="05050102010706020507" pitchFamily="18" charset="2"/>
                  </a:rPr>
                  <a:t>k</a:t>
                </a:r>
                <a:r>
                  <a:rPr lang="en-US" i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 </a:t>
                </a:r>
                <a:r>
                  <a:rPr lang="en-US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: iteration</a:t>
                </a:r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n-US" i="1" dirty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Times New Roman" panose="02020603050405020304" pitchFamily="18" charset="0"/>
                            <a:sym typeface="Symbol" panose="05050102010706020507" pitchFamily="18" charset="2"/>
                          </a:rPr>
                        </m:ctrlPr>
                      </m:sSubPr>
                      <m:e>
                        <m:r>
                          <a:rPr lang="en-US" i="1" dirty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Times New Roman" panose="02020603050405020304" pitchFamily="18" charset="0"/>
                            <a:sym typeface="Symbol" panose="05050102010706020507" pitchFamily="18" charset="2"/>
                          </a:rPr>
                          <m:t>∝</m:t>
                        </m:r>
                      </m:e>
                      <m:sub>
                        <m:r>
                          <a:rPr lang="tr-TR" b="0" i="1" dirty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Times New Roman" panose="02020603050405020304" pitchFamily="18" charset="0"/>
                            <a:sym typeface="Symbol" panose="05050102010706020507" pitchFamily="18" charset="2"/>
                          </a:rPr>
                          <m:t>𝑘</m:t>
                        </m:r>
                      </m:sub>
                    </m:sSub>
                  </m:oMath>
                </a14:m>
                <a:r>
                  <a:rPr lang="en-US" i="1" dirty="0">
                    <a:latin typeface="Times New Roman" panose="02020603050405020304" pitchFamily="18" charset="0"/>
                    <a:cs typeface="Times New Roman" panose="02020603050405020304" pitchFamily="18" charset="0"/>
                    <a:sym typeface="Symbol" panose="05050102010706020507" pitchFamily="18" charset="2"/>
                  </a:rPr>
                  <a:t> </a:t>
                </a:r>
                <a:r>
                  <a:rPr lang="en-US" dirty="0">
                    <a:latin typeface="Times New Roman" panose="02020603050405020304" pitchFamily="18" charset="0"/>
                    <a:cs typeface="Times New Roman" panose="02020603050405020304" pitchFamily="18" charset="0"/>
                    <a:sym typeface="Symbol" panose="05050102010706020507" pitchFamily="18" charset="2"/>
                  </a:rPr>
                  <a:t>: learning rate</a:t>
                </a:r>
                <a:endParaRPr lang="en-US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E31940FE-BCC0-59F5-A88B-EBEF61CE1FF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494708" y="2999381"/>
                <a:ext cx="1803764" cy="646331"/>
              </a:xfrm>
              <a:prstGeom prst="rect">
                <a:avLst/>
              </a:prstGeom>
              <a:blipFill>
                <a:blip r:embed="rId4"/>
                <a:stretch>
                  <a:fillRect l="-2694" t="-3704" r="-2020" b="-12963"/>
                </a:stretch>
              </a:blipFill>
              <a:ln>
                <a:solidFill>
                  <a:srgbClr val="C00000"/>
                </a:solidFill>
              </a:ln>
            </p:spPr>
            <p:txBody>
              <a:bodyPr/>
              <a:lstStyle/>
              <a:p>
                <a:r>
                  <a:rPr lang="tr-TR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21" name="Picture 20">
            <a:extLst>
              <a:ext uri="{FF2B5EF4-FFF2-40B4-BE49-F238E27FC236}">
                <a16:creationId xmlns:a16="http://schemas.microsoft.com/office/drawing/2014/main" id="{913C66AC-8053-BBFD-F488-69C5B12BF90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45731" y="327204"/>
            <a:ext cx="2178050" cy="880110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8B64AB76-4C8D-0155-C301-F02B4A5FC47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136068" y="1475212"/>
            <a:ext cx="2426970" cy="880110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B30525CD-C09E-538B-CD62-FF322894C0E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455858" y="4418024"/>
            <a:ext cx="5787390" cy="337820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AAE91139-B6F0-60D1-0DFF-17C751DC8E6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142951" y="2955169"/>
            <a:ext cx="3973830" cy="880110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3FBF90B4-5842-7BCF-C9AC-17B03CE3E21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938223" y="5437557"/>
            <a:ext cx="6729730" cy="8001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021127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3" grpId="0"/>
      <p:bldP spid="4" grpId="0"/>
      <p:bldP spid="19" grpId="0"/>
      <p:bldP spid="20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E6EF2DD4-1428-4F29-BED0-012580DEB727}"/>
              </a:ext>
            </a:extLst>
          </p:cNvPr>
          <p:cNvGrpSpPr/>
          <p:nvPr/>
        </p:nvGrpSpPr>
        <p:grpSpPr>
          <a:xfrm>
            <a:off x="1" y="6496048"/>
            <a:ext cx="12192000" cy="381103"/>
            <a:chOff x="-1" y="6496048"/>
            <a:chExt cx="12192001" cy="361952"/>
          </a:xfrm>
        </p:grpSpPr>
        <p:sp>
          <p:nvSpPr>
            <p:cNvPr id="17" name="Dikdörtgen 10">
              <a:extLst>
                <a:ext uri="{FF2B5EF4-FFF2-40B4-BE49-F238E27FC236}">
                  <a16:creationId xmlns:a16="http://schemas.microsoft.com/office/drawing/2014/main" id="{C14596DF-271A-400A-B0AE-693FCDF2F217}"/>
                </a:ext>
              </a:extLst>
            </p:cNvPr>
            <p:cNvSpPr/>
            <p:nvPr/>
          </p:nvSpPr>
          <p:spPr>
            <a:xfrm>
              <a:off x="10115547" y="6496049"/>
              <a:ext cx="2076453" cy="361951"/>
            </a:xfrm>
            <a:prstGeom prst="rect">
              <a:avLst/>
            </a:prstGeom>
            <a:solidFill>
              <a:srgbClr val="2198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dirty="0"/>
                <a:t>   Özgür Martin</a:t>
              </a:r>
            </a:p>
          </p:txBody>
        </p:sp>
        <p:sp>
          <p:nvSpPr>
            <p:cNvPr id="18" name="Dikdörtgen 10">
              <a:extLst>
                <a:ext uri="{FF2B5EF4-FFF2-40B4-BE49-F238E27FC236}">
                  <a16:creationId xmlns:a16="http://schemas.microsoft.com/office/drawing/2014/main" id="{84A5B1F6-64B9-4792-8088-33FD44F5342F}"/>
                </a:ext>
              </a:extLst>
            </p:cNvPr>
            <p:cNvSpPr/>
            <p:nvPr/>
          </p:nvSpPr>
          <p:spPr>
            <a:xfrm>
              <a:off x="-1" y="6496048"/>
              <a:ext cx="10151743" cy="361952"/>
            </a:xfrm>
            <a:prstGeom prst="rect">
              <a:avLst/>
            </a:prstGeom>
            <a:solidFill>
              <a:srgbClr val="2198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altLang="ko-KR" dirty="0" err="1">
                  <a:solidFill>
                    <a:schemeClr val="bg1"/>
                  </a:solidFill>
                  <a:cs typeface="Arial" pitchFamily="34" charset="0"/>
                </a:rPr>
                <a:t>Neural</a:t>
              </a:r>
              <a:r>
                <a:rPr lang="tr-TR" altLang="ko-KR" dirty="0">
                  <a:solidFill>
                    <a:schemeClr val="bg1"/>
                  </a:solidFill>
                  <a:cs typeface="Arial" pitchFamily="34" charset="0"/>
                </a:rPr>
                <a:t> Networks</a:t>
              </a:r>
            </a:p>
          </p:txBody>
        </p:sp>
      </p:grpSp>
      <p:sp>
        <p:nvSpPr>
          <p:cNvPr id="5" name="CustomShape 1">
            <a:extLst>
              <a:ext uri="{FF2B5EF4-FFF2-40B4-BE49-F238E27FC236}">
                <a16:creationId xmlns:a16="http://schemas.microsoft.com/office/drawing/2014/main" id="{C213AB09-AFA2-22E3-D6DC-69A95E8D798E}"/>
              </a:ext>
            </a:extLst>
          </p:cNvPr>
          <p:cNvSpPr/>
          <p:nvPr/>
        </p:nvSpPr>
        <p:spPr>
          <a:xfrm>
            <a:off x="572014" y="386354"/>
            <a:ext cx="8170920" cy="106488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>
            <a:noAutofit/>
          </a:bodyPr>
          <a:lstStyle/>
          <a:p>
            <a:pPr>
              <a:lnSpc>
                <a:spcPts val="3200"/>
              </a:lnSpc>
            </a:pPr>
            <a:r>
              <a:rPr lang="en-US" sz="2800" b="0" strike="noStrike" spc="-1" dirty="0">
                <a:solidFill>
                  <a:srgbClr val="AB3348"/>
                </a:solidFill>
                <a:latin typeface="Times New Roman"/>
                <a:ea typeface="DejaVu Sans"/>
              </a:rPr>
              <a:t>Network Training</a:t>
            </a:r>
            <a:br>
              <a:rPr dirty="0"/>
            </a:br>
            <a:r>
              <a:rPr lang="en-US" sz="2000" b="0" strike="noStrike" spc="-1" dirty="0">
                <a:solidFill>
                  <a:srgbClr val="AB3348"/>
                </a:solidFill>
                <a:latin typeface="Times New Roman"/>
                <a:ea typeface="DejaVu Sans"/>
              </a:rPr>
              <a:t>Backpropagation</a:t>
            </a:r>
            <a:endParaRPr lang="en-US" sz="2000" b="0" strike="noStrike" spc="-1" dirty="0">
              <a:latin typeface="Arial"/>
            </a:endParaRPr>
          </a:p>
        </p:txBody>
      </p:sp>
      <p:pic>
        <p:nvPicPr>
          <p:cNvPr id="6" name="Picture 7">
            <a:extLst>
              <a:ext uri="{FF2B5EF4-FFF2-40B4-BE49-F238E27FC236}">
                <a16:creationId xmlns:a16="http://schemas.microsoft.com/office/drawing/2014/main" id="{39E4DC7F-5D6E-CDFD-8B82-38A28AEA737B}"/>
              </a:ext>
            </a:extLst>
          </p:cNvPr>
          <p:cNvPicPr/>
          <p:nvPr/>
        </p:nvPicPr>
        <p:blipFill>
          <a:blip r:embed="rId4"/>
          <a:stretch/>
        </p:blipFill>
        <p:spPr>
          <a:xfrm>
            <a:off x="2512183" y="1795754"/>
            <a:ext cx="3488760" cy="871560"/>
          </a:xfrm>
          <a:prstGeom prst="rect">
            <a:avLst/>
          </a:prstGeom>
          <a:ln>
            <a:noFill/>
          </a:ln>
        </p:spPr>
      </p:pic>
      <p:pic>
        <p:nvPicPr>
          <p:cNvPr id="7" name="Picture 19">
            <a:extLst>
              <a:ext uri="{FF2B5EF4-FFF2-40B4-BE49-F238E27FC236}">
                <a16:creationId xmlns:a16="http://schemas.microsoft.com/office/drawing/2014/main" id="{22B21380-EC0B-CCC7-C472-FD7FF373B7D1}"/>
              </a:ext>
            </a:extLst>
          </p:cNvPr>
          <p:cNvPicPr/>
          <p:nvPr/>
        </p:nvPicPr>
        <p:blipFill>
          <a:blip r:embed="rId5"/>
          <a:stretch/>
        </p:blipFill>
        <p:spPr>
          <a:xfrm>
            <a:off x="3204103" y="4353914"/>
            <a:ext cx="5568840" cy="711000"/>
          </a:xfrm>
          <a:prstGeom prst="rect">
            <a:avLst/>
          </a:prstGeom>
          <a:ln>
            <a:noFill/>
          </a:ln>
        </p:spPr>
      </p:pic>
      <p:pic>
        <p:nvPicPr>
          <p:cNvPr id="8" name="Picture 20">
            <a:extLst>
              <a:ext uri="{FF2B5EF4-FFF2-40B4-BE49-F238E27FC236}">
                <a16:creationId xmlns:a16="http://schemas.microsoft.com/office/drawing/2014/main" id="{4B64F701-6DD9-C6CD-5803-D3CA188F8572}"/>
              </a:ext>
            </a:extLst>
          </p:cNvPr>
          <p:cNvPicPr/>
          <p:nvPr/>
        </p:nvPicPr>
        <p:blipFill>
          <a:blip r:embed="rId6"/>
          <a:stretch/>
        </p:blipFill>
        <p:spPr>
          <a:xfrm>
            <a:off x="1903063" y="3664514"/>
            <a:ext cx="2835000" cy="582480"/>
          </a:xfrm>
          <a:prstGeom prst="rect">
            <a:avLst/>
          </a:prstGeom>
          <a:ln>
            <a:noFill/>
          </a:ln>
        </p:spPr>
      </p:pic>
      <p:pic>
        <p:nvPicPr>
          <p:cNvPr id="9" name="Picture 9">
            <a:extLst>
              <a:ext uri="{FF2B5EF4-FFF2-40B4-BE49-F238E27FC236}">
                <a16:creationId xmlns:a16="http://schemas.microsoft.com/office/drawing/2014/main" id="{63ABD791-AC3F-F35A-2023-0CFD9C8B223C}"/>
              </a:ext>
            </a:extLst>
          </p:cNvPr>
          <p:cNvPicPr/>
          <p:nvPr/>
        </p:nvPicPr>
        <p:blipFill>
          <a:blip r:embed="rId7"/>
          <a:stretch/>
        </p:blipFill>
        <p:spPr>
          <a:xfrm>
            <a:off x="5069623" y="3664514"/>
            <a:ext cx="2927880" cy="582480"/>
          </a:xfrm>
          <a:prstGeom prst="rect">
            <a:avLst/>
          </a:prstGeom>
          <a:ln>
            <a:noFill/>
          </a:ln>
        </p:spPr>
      </p:pic>
      <p:sp>
        <p:nvSpPr>
          <p:cNvPr id="10" name="CustomShape 2">
            <a:extLst>
              <a:ext uri="{FF2B5EF4-FFF2-40B4-BE49-F238E27FC236}">
                <a16:creationId xmlns:a16="http://schemas.microsoft.com/office/drawing/2014/main" id="{2244C595-DF3C-E98B-BE9F-5647F24D89B5}"/>
              </a:ext>
            </a:extLst>
          </p:cNvPr>
          <p:cNvSpPr/>
          <p:nvPr/>
        </p:nvSpPr>
        <p:spPr>
          <a:xfrm>
            <a:off x="1745023" y="3242594"/>
            <a:ext cx="767160" cy="36396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>
            <a:spAutoFit/>
          </a:bodyPr>
          <a:lstStyle/>
          <a:p>
            <a:pPr>
              <a:lnSpc>
                <a:spcPct val="100000"/>
              </a:lnSpc>
            </a:pPr>
            <a:r>
              <a:rPr lang="en-US" sz="1800" b="0" strike="noStrike" spc="-1" dirty="0">
                <a:solidFill>
                  <a:srgbClr val="AB3348"/>
                </a:solidFill>
                <a:latin typeface="Times New Roman"/>
                <a:ea typeface="DejaVu Sans"/>
              </a:rPr>
              <a:t>Recall</a:t>
            </a:r>
            <a:endParaRPr lang="en-US" sz="1800" b="0" strike="noStrike" spc="-1" dirty="0">
              <a:latin typeface="Arial"/>
            </a:endParaRPr>
          </a:p>
        </p:txBody>
      </p:sp>
      <p:sp>
        <p:nvSpPr>
          <p:cNvPr id="11" name="CustomShape 3">
            <a:extLst>
              <a:ext uri="{FF2B5EF4-FFF2-40B4-BE49-F238E27FC236}">
                <a16:creationId xmlns:a16="http://schemas.microsoft.com/office/drawing/2014/main" id="{5F791116-D117-E9CF-0189-BFB131EBCE05}"/>
              </a:ext>
            </a:extLst>
          </p:cNvPr>
          <p:cNvSpPr/>
          <p:nvPr/>
        </p:nvSpPr>
        <p:spPr>
          <a:xfrm>
            <a:off x="4153278" y="5409434"/>
            <a:ext cx="4369251" cy="398655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2000" b="1" strike="noStrike" spc="-1" dirty="0">
                <a:solidFill>
                  <a:srgbClr val="AB3348"/>
                </a:solidFill>
                <a:latin typeface="Times New Roman"/>
                <a:ea typeface="DejaVu Sans"/>
              </a:rPr>
              <a:t>Apply chain rule over and over again?</a:t>
            </a:r>
            <a:endParaRPr lang="en-US" sz="2000" b="0" strike="noStrike" spc="-1" dirty="0">
              <a:latin typeface="Arial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49A80F9-ABC4-43B7-35F6-1E7487BB4800}"/>
              </a:ext>
            </a:extLst>
          </p:cNvPr>
          <p:cNvPicPr/>
          <p:nvPr/>
        </p:nvPicPr>
        <p:blipFill>
          <a:blip r:embed="rId8"/>
          <a:stretch/>
        </p:blipFill>
        <p:spPr>
          <a:xfrm>
            <a:off x="8328703" y="3733634"/>
            <a:ext cx="1823040" cy="444240"/>
          </a:xfrm>
          <a:prstGeom prst="rect">
            <a:avLst/>
          </a:prstGeom>
          <a:ln>
            <a:noFill/>
          </a:ln>
        </p:spPr>
      </p:pic>
      <p:pic>
        <p:nvPicPr>
          <p:cNvPr id="13" name="Picture 13">
            <a:extLst>
              <a:ext uri="{FF2B5EF4-FFF2-40B4-BE49-F238E27FC236}">
                <a16:creationId xmlns:a16="http://schemas.microsoft.com/office/drawing/2014/main" id="{2E438F8A-E65C-E4AC-9C64-B41190DD4F0B}"/>
              </a:ext>
            </a:extLst>
          </p:cNvPr>
          <p:cNvPicPr/>
          <p:nvPr/>
        </p:nvPicPr>
        <p:blipFill>
          <a:blip r:embed="rId9"/>
          <a:stretch/>
        </p:blipFill>
        <p:spPr>
          <a:xfrm>
            <a:off x="7032703" y="1795754"/>
            <a:ext cx="2848680" cy="871560"/>
          </a:xfrm>
          <a:prstGeom prst="rect">
            <a:avLst/>
          </a:prstGeom>
          <a:ln>
            <a:noFill/>
          </a:ln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67B1870D-B3C1-86A5-7178-28606346675C}"/>
              </a:ext>
            </a:extLst>
          </p:cNvPr>
          <p:cNvSpPr/>
          <p:nvPr/>
        </p:nvSpPr>
        <p:spPr>
          <a:xfrm>
            <a:off x="3885043" y="5960920"/>
            <a:ext cx="4572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b="1" spc="-1" dirty="0">
                <a:solidFill>
                  <a:srgbClr val="AB3348"/>
                </a:solidFill>
                <a:latin typeface="Times New Roman"/>
              </a:rPr>
              <a:t>Yes </a:t>
            </a:r>
            <a:r>
              <a:rPr lang="en-US" b="1" u="sng" spc="-1" dirty="0">
                <a:solidFill>
                  <a:srgbClr val="AB3348"/>
                </a:solidFill>
                <a:latin typeface="Times New Roman"/>
              </a:rPr>
              <a:t>but</a:t>
            </a:r>
            <a:r>
              <a:rPr lang="en-US" b="1" spc="-1" dirty="0">
                <a:solidFill>
                  <a:srgbClr val="AB3348"/>
                </a:solidFill>
                <a:latin typeface="Times New Roman"/>
              </a:rPr>
              <a:t> try it on the network!</a:t>
            </a:r>
            <a:endParaRPr lang="en-US" spc="-1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61990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1" grpId="0"/>
      <p:bldP spid="14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E6EF2DD4-1428-4F29-BED0-012580DEB727}"/>
              </a:ext>
            </a:extLst>
          </p:cNvPr>
          <p:cNvGrpSpPr/>
          <p:nvPr/>
        </p:nvGrpSpPr>
        <p:grpSpPr>
          <a:xfrm>
            <a:off x="1" y="6496048"/>
            <a:ext cx="12192000" cy="381103"/>
            <a:chOff x="-1" y="6496048"/>
            <a:chExt cx="12192001" cy="361952"/>
          </a:xfrm>
        </p:grpSpPr>
        <p:sp>
          <p:nvSpPr>
            <p:cNvPr id="17" name="Dikdörtgen 10">
              <a:extLst>
                <a:ext uri="{FF2B5EF4-FFF2-40B4-BE49-F238E27FC236}">
                  <a16:creationId xmlns:a16="http://schemas.microsoft.com/office/drawing/2014/main" id="{C14596DF-271A-400A-B0AE-693FCDF2F217}"/>
                </a:ext>
              </a:extLst>
            </p:cNvPr>
            <p:cNvSpPr/>
            <p:nvPr/>
          </p:nvSpPr>
          <p:spPr>
            <a:xfrm>
              <a:off x="10115547" y="6496049"/>
              <a:ext cx="2076453" cy="361951"/>
            </a:xfrm>
            <a:prstGeom prst="rect">
              <a:avLst/>
            </a:prstGeom>
            <a:solidFill>
              <a:srgbClr val="2198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dirty="0"/>
                <a:t>   Özgür Martin</a:t>
              </a:r>
            </a:p>
          </p:txBody>
        </p:sp>
        <p:sp>
          <p:nvSpPr>
            <p:cNvPr id="18" name="Dikdörtgen 10">
              <a:extLst>
                <a:ext uri="{FF2B5EF4-FFF2-40B4-BE49-F238E27FC236}">
                  <a16:creationId xmlns:a16="http://schemas.microsoft.com/office/drawing/2014/main" id="{84A5B1F6-64B9-4792-8088-33FD44F5342F}"/>
                </a:ext>
              </a:extLst>
            </p:cNvPr>
            <p:cNvSpPr/>
            <p:nvPr/>
          </p:nvSpPr>
          <p:spPr>
            <a:xfrm>
              <a:off x="-1" y="6496048"/>
              <a:ext cx="10151743" cy="361952"/>
            </a:xfrm>
            <a:prstGeom prst="rect">
              <a:avLst/>
            </a:prstGeom>
            <a:solidFill>
              <a:srgbClr val="2198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altLang="ko-KR" dirty="0" err="1">
                  <a:solidFill>
                    <a:schemeClr val="bg1"/>
                  </a:solidFill>
                  <a:cs typeface="Arial" pitchFamily="34" charset="0"/>
                </a:rPr>
                <a:t>Neural</a:t>
              </a:r>
              <a:r>
                <a:rPr lang="tr-TR" altLang="ko-KR" dirty="0">
                  <a:solidFill>
                    <a:schemeClr val="bg1"/>
                  </a:solidFill>
                  <a:cs typeface="Arial" pitchFamily="34" charset="0"/>
                </a:rPr>
                <a:t> Networks</a:t>
              </a:r>
            </a:p>
          </p:txBody>
        </p:sp>
      </p:grpSp>
      <p:sp>
        <p:nvSpPr>
          <p:cNvPr id="5" name="Line 1">
            <a:extLst>
              <a:ext uri="{FF2B5EF4-FFF2-40B4-BE49-F238E27FC236}">
                <a16:creationId xmlns:a16="http://schemas.microsoft.com/office/drawing/2014/main" id="{166E9AB6-941C-B6CF-6E94-F873A6541A18}"/>
              </a:ext>
            </a:extLst>
          </p:cNvPr>
          <p:cNvSpPr/>
          <p:nvPr/>
        </p:nvSpPr>
        <p:spPr>
          <a:xfrm flipV="1">
            <a:off x="2888151" y="2115877"/>
            <a:ext cx="1962000" cy="1491480"/>
          </a:xfrm>
          <a:prstGeom prst="line">
            <a:avLst/>
          </a:prstGeom>
          <a:ln>
            <a:solidFill>
              <a:schemeClr val="bg2">
                <a:lumMod val="40000"/>
                <a:lumOff val="60000"/>
              </a:schemeClr>
            </a:solidFill>
            <a:round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/>
        </p:style>
      </p:sp>
      <p:sp>
        <p:nvSpPr>
          <p:cNvPr id="6" name="Line 2">
            <a:extLst>
              <a:ext uri="{FF2B5EF4-FFF2-40B4-BE49-F238E27FC236}">
                <a16:creationId xmlns:a16="http://schemas.microsoft.com/office/drawing/2014/main" id="{F130BD19-0C9C-B56F-A2EB-50CD93DFDED7}"/>
              </a:ext>
            </a:extLst>
          </p:cNvPr>
          <p:cNvSpPr/>
          <p:nvPr/>
        </p:nvSpPr>
        <p:spPr>
          <a:xfrm>
            <a:off x="2888151" y="1637077"/>
            <a:ext cx="1962000" cy="478800"/>
          </a:xfrm>
          <a:prstGeom prst="line">
            <a:avLst/>
          </a:prstGeom>
          <a:ln>
            <a:solidFill>
              <a:schemeClr val="bg2">
                <a:lumMod val="40000"/>
                <a:lumOff val="60000"/>
              </a:schemeClr>
            </a:solidFill>
            <a:round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/>
        </p:style>
      </p:sp>
      <p:sp>
        <p:nvSpPr>
          <p:cNvPr id="7" name="CustomShape 3">
            <a:extLst>
              <a:ext uri="{FF2B5EF4-FFF2-40B4-BE49-F238E27FC236}">
                <a16:creationId xmlns:a16="http://schemas.microsoft.com/office/drawing/2014/main" id="{B4BDEA0E-29C8-37E2-0AA5-4650BE10A780}"/>
              </a:ext>
            </a:extLst>
          </p:cNvPr>
          <p:cNvSpPr/>
          <p:nvPr/>
        </p:nvSpPr>
        <p:spPr>
          <a:xfrm flipV="1">
            <a:off x="5346591" y="1140277"/>
            <a:ext cx="2047320" cy="972720"/>
          </a:xfrm>
          <a:custGeom>
            <a:avLst/>
            <a:gdLst/>
            <a:ahLst/>
            <a:cxnLst/>
            <a:rect l="l" t="t" r="r" b="b"/>
            <a:pathLst>
              <a:path w="21600" h="21600">
                <a:moveTo>
                  <a:pt x="0" y="0"/>
                </a:moveTo>
                <a:lnTo>
                  <a:pt x="21600" y="21600"/>
                </a:lnTo>
              </a:path>
            </a:pathLst>
          </a:custGeom>
          <a:noFill/>
          <a:ln>
            <a:solidFill>
              <a:schemeClr val="bg2">
                <a:lumMod val="40000"/>
                <a:lumOff val="60000"/>
              </a:schemeClr>
            </a:solidFill>
            <a:round/>
          </a:ln>
          <a:effectLst>
            <a:outerShdw blurRad="40000" dist="20160" dir="5400000" rotWithShape="0">
              <a:srgbClr val="000000">
                <a:alpha val="3800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/>
        </p:style>
      </p:sp>
      <p:sp>
        <p:nvSpPr>
          <p:cNvPr id="8" name="CustomShape 4">
            <a:extLst>
              <a:ext uri="{FF2B5EF4-FFF2-40B4-BE49-F238E27FC236}">
                <a16:creationId xmlns:a16="http://schemas.microsoft.com/office/drawing/2014/main" id="{E6CFF74F-B479-53A5-DBA5-C4B884769AA5}"/>
              </a:ext>
            </a:extLst>
          </p:cNvPr>
          <p:cNvSpPr/>
          <p:nvPr/>
        </p:nvSpPr>
        <p:spPr>
          <a:xfrm>
            <a:off x="501711" y="201160"/>
            <a:ext cx="8170920" cy="106488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>
            <a:noAutofit/>
          </a:bodyPr>
          <a:lstStyle/>
          <a:p>
            <a:pPr>
              <a:lnSpc>
                <a:spcPts val="3200"/>
              </a:lnSpc>
            </a:pPr>
            <a:r>
              <a:rPr lang="en-US" sz="2800" b="0" strike="noStrike" spc="-1" dirty="0">
                <a:solidFill>
                  <a:srgbClr val="AB3348"/>
                </a:solidFill>
                <a:latin typeface="Times New Roman"/>
                <a:ea typeface="DejaVu Sans"/>
              </a:rPr>
              <a:t>Network Training</a:t>
            </a:r>
            <a:br>
              <a:rPr dirty="0"/>
            </a:br>
            <a:r>
              <a:rPr lang="en-US" sz="2000" b="0" strike="noStrike" spc="-1" dirty="0">
                <a:solidFill>
                  <a:srgbClr val="AB3348"/>
                </a:solidFill>
                <a:latin typeface="Times New Roman"/>
                <a:ea typeface="DejaVu Sans"/>
              </a:rPr>
              <a:t>Backpropagation</a:t>
            </a:r>
            <a:endParaRPr lang="en-US" sz="2000" b="0" strike="noStrike" spc="-1" dirty="0">
              <a:latin typeface="Arial"/>
            </a:endParaRPr>
          </a:p>
        </p:txBody>
      </p:sp>
      <p:pic>
        <p:nvPicPr>
          <p:cNvPr id="9" name="Picture 2">
            <a:extLst>
              <a:ext uri="{FF2B5EF4-FFF2-40B4-BE49-F238E27FC236}">
                <a16:creationId xmlns:a16="http://schemas.microsoft.com/office/drawing/2014/main" id="{CEBB3B7F-4B7B-D2B6-4233-C5079EF6197C}"/>
              </a:ext>
            </a:extLst>
          </p:cNvPr>
          <p:cNvPicPr/>
          <p:nvPr/>
        </p:nvPicPr>
        <p:blipFill>
          <a:blip r:embed="rId4"/>
          <a:stretch/>
        </p:blipFill>
        <p:spPr>
          <a:xfrm>
            <a:off x="8894271" y="1239697"/>
            <a:ext cx="1604880" cy="533160"/>
          </a:xfrm>
          <a:prstGeom prst="rect">
            <a:avLst/>
          </a:prstGeom>
          <a:ln>
            <a:noFill/>
          </a:ln>
        </p:spPr>
      </p:pic>
      <p:pic>
        <p:nvPicPr>
          <p:cNvPr id="10" name="Picture 5">
            <a:extLst>
              <a:ext uri="{FF2B5EF4-FFF2-40B4-BE49-F238E27FC236}">
                <a16:creationId xmlns:a16="http://schemas.microsoft.com/office/drawing/2014/main" id="{5DEA78B5-A8C2-B51C-0581-66CC2E629697}"/>
              </a:ext>
            </a:extLst>
          </p:cNvPr>
          <p:cNvPicPr/>
          <p:nvPr/>
        </p:nvPicPr>
        <p:blipFill>
          <a:blip r:embed="rId5"/>
          <a:stretch/>
        </p:blipFill>
        <p:spPr>
          <a:xfrm>
            <a:off x="8961591" y="847657"/>
            <a:ext cx="1470600" cy="264600"/>
          </a:xfrm>
          <a:prstGeom prst="rect">
            <a:avLst/>
          </a:prstGeom>
          <a:ln>
            <a:noFill/>
          </a:ln>
        </p:spPr>
      </p:pic>
      <p:sp>
        <p:nvSpPr>
          <p:cNvPr id="11" name="CustomShape 5">
            <a:extLst>
              <a:ext uri="{FF2B5EF4-FFF2-40B4-BE49-F238E27FC236}">
                <a16:creationId xmlns:a16="http://schemas.microsoft.com/office/drawing/2014/main" id="{30381A25-0BA6-8D40-87CD-A0004CB27949}"/>
              </a:ext>
            </a:extLst>
          </p:cNvPr>
          <p:cNvSpPr/>
          <p:nvPr/>
        </p:nvSpPr>
        <p:spPr>
          <a:xfrm>
            <a:off x="8612751" y="731377"/>
            <a:ext cx="2106360" cy="1138320"/>
          </a:xfrm>
          <a:prstGeom prst="rect">
            <a:avLst/>
          </a:prstGeom>
          <a:noFill/>
          <a:ln>
            <a:solidFill>
              <a:srgbClr val="AB3348"/>
            </a:solidFill>
            <a:round/>
          </a:ln>
          <a:effectLst>
            <a:outerShdw blurRad="40000" dist="2304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/>
        </p:style>
      </p:sp>
      <p:sp>
        <p:nvSpPr>
          <p:cNvPr id="12" name="CustomShape 6">
            <a:extLst>
              <a:ext uri="{FF2B5EF4-FFF2-40B4-BE49-F238E27FC236}">
                <a16:creationId xmlns:a16="http://schemas.microsoft.com/office/drawing/2014/main" id="{EEA79735-C1F2-B58D-F36C-86312099CE93}"/>
              </a:ext>
            </a:extLst>
          </p:cNvPr>
          <p:cNvSpPr/>
          <p:nvPr/>
        </p:nvSpPr>
        <p:spPr>
          <a:xfrm>
            <a:off x="2392071" y="2363197"/>
            <a:ext cx="495000" cy="495000"/>
          </a:xfrm>
          <a:prstGeom prst="ellipse">
            <a:avLst/>
          </a:prstGeom>
          <a:ln>
            <a:rou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/>
        </p:style>
        <p:txBody>
          <a:bodyPr lIns="90000" tIns="45000" rIns="90000" bIns="45000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sz="1800" b="1" i="1" strike="noStrike" spc="-1" dirty="0">
                <a:solidFill>
                  <a:srgbClr val="000000"/>
                </a:solidFill>
                <a:latin typeface="Times New Roman"/>
                <a:ea typeface="DejaVu Sans"/>
              </a:rPr>
              <a:t>s</a:t>
            </a:r>
            <a:endParaRPr lang="en-US" sz="1800" b="0" strike="noStrike" spc="-1" dirty="0">
              <a:latin typeface="Arial"/>
            </a:endParaRPr>
          </a:p>
        </p:txBody>
      </p:sp>
      <p:sp>
        <p:nvSpPr>
          <p:cNvPr id="13" name="CustomShape 7">
            <a:extLst>
              <a:ext uri="{FF2B5EF4-FFF2-40B4-BE49-F238E27FC236}">
                <a16:creationId xmlns:a16="http://schemas.microsoft.com/office/drawing/2014/main" id="{8EB8B273-45E8-4E5A-BCA8-07C095A3369F}"/>
              </a:ext>
            </a:extLst>
          </p:cNvPr>
          <p:cNvSpPr/>
          <p:nvPr/>
        </p:nvSpPr>
        <p:spPr>
          <a:xfrm>
            <a:off x="4850511" y="1867837"/>
            <a:ext cx="495000" cy="495000"/>
          </a:xfrm>
          <a:prstGeom prst="ellipse">
            <a:avLst/>
          </a:prstGeom>
          <a:ln>
            <a:rou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/>
        </p:style>
        <p:txBody>
          <a:bodyPr lIns="90000" tIns="45000" rIns="90000" bIns="45000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sz="1800" b="1" i="1" strike="noStrike" spc="-1">
                <a:solidFill>
                  <a:srgbClr val="000000"/>
                </a:solidFill>
                <a:latin typeface="Times New Roman"/>
                <a:ea typeface="DejaVu Sans"/>
              </a:rPr>
              <a:t>t</a:t>
            </a:r>
            <a:endParaRPr lang="en-US" sz="1800" b="0" strike="noStrike" spc="-1">
              <a:latin typeface="Arial"/>
            </a:endParaRPr>
          </a:p>
        </p:txBody>
      </p:sp>
      <p:sp>
        <p:nvSpPr>
          <p:cNvPr id="14" name="Line 8">
            <a:extLst>
              <a:ext uri="{FF2B5EF4-FFF2-40B4-BE49-F238E27FC236}">
                <a16:creationId xmlns:a16="http://schemas.microsoft.com/office/drawing/2014/main" id="{D8CDCB54-D919-5CB8-499A-B97C196857F7}"/>
              </a:ext>
            </a:extLst>
          </p:cNvPr>
          <p:cNvSpPr/>
          <p:nvPr/>
        </p:nvSpPr>
        <p:spPr>
          <a:xfrm flipV="1">
            <a:off x="2888151" y="2115877"/>
            <a:ext cx="1962000" cy="495360"/>
          </a:xfrm>
          <a:prstGeom prst="line">
            <a:avLst/>
          </a:prstGeom>
          <a:ln w="38160">
            <a:solidFill>
              <a:srgbClr val="BA0033"/>
            </a:solidFill>
            <a:round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/>
        </p:style>
      </p:sp>
      <p:sp>
        <p:nvSpPr>
          <p:cNvPr id="15" name="CustomShape 9">
            <a:extLst>
              <a:ext uri="{FF2B5EF4-FFF2-40B4-BE49-F238E27FC236}">
                <a16:creationId xmlns:a16="http://schemas.microsoft.com/office/drawing/2014/main" id="{F1764991-849D-8AE5-C281-0D81AFDEE3F4}"/>
              </a:ext>
            </a:extLst>
          </p:cNvPr>
          <p:cNvSpPr/>
          <p:nvPr/>
        </p:nvSpPr>
        <p:spPr>
          <a:xfrm>
            <a:off x="2392071" y="1389397"/>
            <a:ext cx="495000" cy="49500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  <a:rou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/>
        </p:style>
      </p:sp>
      <p:sp>
        <p:nvSpPr>
          <p:cNvPr id="19" name="CustomShape 10">
            <a:extLst>
              <a:ext uri="{FF2B5EF4-FFF2-40B4-BE49-F238E27FC236}">
                <a16:creationId xmlns:a16="http://schemas.microsoft.com/office/drawing/2014/main" id="{981B0932-24B1-FFCE-AF13-6571F02E1A54}"/>
              </a:ext>
            </a:extLst>
          </p:cNvPr>
          <p:cNvSpPr/>
          <p:nvPr/>
        </p:nvSpPr>
        <p:spPr>
          <a:xfrm>
            <a:off x="2392071" y="3359317"/>
            <a:ext cx="495000" cy="495000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65000"/>
              </a:schemeClr>
            </a:solidFill>
            <a:rou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/>
        </p:style>
      </p:sp>
      <p:sp>
        <p:nvSpPr>
          <p:cNvPr id="20" name="CustomShape 11">
            <a:extLst>
              <a:ext uri="{FF2B5EF4-FFF2-40B4-BE49-F238E27FC236}">
                <a16:creationId xmlns:a16="http://schemas.microsoft.com/office/drawing/2014/main" id="{B5D55A40-8815-F624-F530-5D747F467F97}"/>
              </a:ext>
            </a:extLst>
          </p:cNvPr>
          <p:cNvSpPr/>
          <p:nvPr/>
        </p:nvSpPr>
        <p:spPr>
          <a:xfrm rot="5400000">
            <a:off x="2463711" y="1984477"/>
            <a:ext cx="445320" cy="30312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1400" b="1" strike="noStrike" spc="-1">
                <a:solidFill>
                  <a:srgbClr val="9C9C9C"/>
                </a:solidFill>
                <a:latin typeface="Times New Roman"/>
                <a:ea typeface="DejaVu Sans"/>
              </a:rPr>
              <a:t>. . . </a:t>
            </a:r>
            <a:endParaRPr lang="en-US" sz="1400" b="0" strike="noStrike" spc="-1">
              <a:latin typeface="Arial"/>
            </a:endParaRPr>
          </a:p>
        </p:txBody>
      </p:sp>
      <p:sp>
        <p:nvSpPr>
          <p:cNvPr id="21" name="CustomShape 12">
            <a:extLst>
              <a:ext uri="{FF2B5EF4-FFF2-40B4-BE49-F238E27FC236}">
                <a16:creationId xmlns:a16="http://schemas.microsoft.com/office/drawing/2014/main" id="{A93DCF21-FCD8-10F2-ADA5-F3A5AE2B03B8}"/>
              </a:ext>
            </a:extLst>
          </p:cNvPr>
          <p:cNvSpPr/>
          <p:nvPr/>
        </p:nvSpPr>
        <p:spPr>
          <a:xfrm rot="5400000">
            <a:off x="2463711" y="3000757"/>
            <a:ext cx="445320" cy="30312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1400" b="1" strike="noStrike" spc="-1">
                <a:solidFill>
                  <a:srgbClr val="9C9C9C"/>
                </a:solidFill>
                <a:latin typeface="Times New Roman"/>
                <a:ea typeface="DejaVu Sans"/>
              </a:rPr>
              <a:t>. . . </a:t>
            </a:r>
            <a:endParaRPr lang="en-US" sz="1400" b="0" strike="noStrike" spc="-1">
              <a:latin typeface="Arial"/>
            </a:endParaRPr>
          </a:p>
        </p:txBody>
      </p:sp>
      <p:sp>
        <p:nvSpPr>
          <p:cNvPr id="22" name="CustomShape 13">
            <a:extLst>
              <a:ext uri="{FF2B5EF4-FFF2-40B4-BE49-F238E27FC236}">
                <a16:creationId xmlns:a16="http://schemas.microsoft.com/office/drawing/2014/main" id="{4BBC66F1-C9E4-2E75-D496-0018A03DF08B}"/>
              </a:ext>
            </a:extLst>
          </p:cNvPr>
          <p:cNvSpPr/>
          <p:nvPr/>
        </p:nvSpPr>
        <p:spPr>
          <a:xfrm>
            <a:off x="5346591" y="2115877"/>
            <a:ext cx="2047320" cy="360"/>
          </a:xfrm>
          <a:custGeom>
            <a:avLst/>
            <a:gdLst/>
            <a:ahLst/>
            <a:cxnLst/>
            <a:rect l="l" t="t" r="r" b="b"/>
            <a:pathLst>
              <a:path w="21600" h="21600">
                <a:moveTo>
                  <a:pt x="0" y="0"/>
                </a:moveTo>
                <a:lnTo>
                  <a:pt x="21600" y="21600"/>
                </a:lnTo>
              </a:path>
            </a:pathLst>
          </a:custGeom>
          <a:noFill/>
          <a:ln w="38160">
            <a:solidFill>
              <a:srgbClr val="BA0033"/>
            </a:solidFill>
            <a:round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/>
        </p:style>
      </p:sp>
      <p:pic>
        <p:nvPicPr>
          <p:cNvPr id="23" name="Picture 124">
            <a:extLst>
              <a:ext uri="{FF2B5EF4-FFF2-40B4-BE49-F238E27FC236}">
                <a16:creationId xmlns:a16="http://schemas.microsoft.com/office/drawing/2014/main" id="{C5295F42-3134-8234-240B-B539EEF94B22}"/>
              </a:ext>
            </a:extLst>
          </p:cNvPr>
          <p:cNvPicPr/>
          <p:nvPr/>
        </p:nvPicPr>
        <p:blipFill>
          <a:blip r:embed="rId6"/>
          <a:stretch/>
        </p:blipFill>
        <p:spPr>
          <a:xfrm>
            <a:off x="3405471" y="2539597"/>
            <a:ext cx="279000" cy="216000"/>
          </a:xfrm>
          <a:prstGeom prst="rect">
            <a:avLst/>
          </a:prstGeom>
          <a:ln>
            <a:noFill/>
          </a:ln>
        </p:spPr>
      </p:pic>
      <p:pic>
        <p:nvPicPr>
          <p:cNvPr id="24" name="Picture 126">
            <a:extLst>
              <a:ext uri="{FF2B5EF4-FFF2-40B4-BE49-F238E27FC236}">
                <a16:creationId xmlns:a16="http://schemas.microsoft.com/office/drawing/2014/main" id="{3DA2A4BA-663B-90F6-3580-C49E5127E75B}"/>
              </a:ext>
            </a:extLst>
          </p:cNvPr>
          <p:cNvPicPr/>
          <p:nvPr/>
        </p:nvPicPr>
        <p:blipFill>
          <a:blip r:embed="rId7"/>
          <a:stretch/>
        </p:blipFill>
        <p:spPr>
          <a:xfrm>
            <a:off x="4427871" y="1226677"/>
            <a:ext cx="1396080" cy="498960"/>
          </a:xfrm>
          <a:prstGeom prst="rect">
            <a:avLst/>
          </a:prstGeom>
          <a:ln>
            <a:noFill/>
          </a:ln>
        </p:spPr>
      </p:pic>
      <p:pic>
        <p:nvPicPr>
          <p:cNvPr id="25" name="Picture 32">
            <a:extLst>
              <a:ext uri="{FF2B5EF4-FFF2-40B4-BE49-F238E27FC236}">
                <a16:creationId xmlns:a16="http://schemas.microsoft.com/office/drawing/2014/main" id="{B779A946-97ED-A8ED-F480-682E127F0303}"/>
              </a:ext>
            </a:extLst>
          </p:cNvPr>
          <p:cNvPicPr/>
          <p:nvPr/>
        </p:nvPicPr>
        <p:blipFill>
          <a:blip r:embed="rId8"/>
          <a:stretch/>
        </p:blipFill>
        <p:spPr>
          <a:xfrm>
            <a:off x="4671231" y="2521957"/>
            <a:ext cx="1007640" cy="236160"/>
          </a:xfrm>
          <a:prstGeom prst="rect">
            <a:avLst/>
          </a:prstGeom>
          <a:ln>
            <a:noFill/>
          </a:ln>
        </p:spPr>
      </p:pic>
      <p:pic>
        <p:nvPicPr>
          <p:cNvPr id="26" name="Picture 38">
            <a:extLst>
              <a:ext uri="{FF2B5EF4-FFF2-40B4-BE49-F238E27FC236}">
                <a16:creationId xmlns:a16="http://schemas.microsoft.com/office/drawing/2014/main" id="{67C02906-7415-7986-D90F-43522CCE7737}"/>
              </a:ext>
            </a:extLst>
          </p:cNvPr>
          <p:cNvPicPr/>
          <p:nvPr/>
        </p:nvPicPr>
        <p:blipFill>
          <a:blip r:embed="rId9"/>
          <a:stretch/>
        </p:blipFill>
        <p:spPr>
          <a:xfrm>
            <a:off x="8672631" y="3369397"/>
            <a:ext cx="919080" cy="533160"/>
          </a:xfrm>
          <a:prstGeom prst="rect">
            <a:avLst/>
          </a:prstGeom>
          <a:ln>
            <a:noFill/>
          </a:ln>
        </p:spPr>
      </p:pic>
      <p:pic>
        <p:nvPicPr>
          <p:cNvPr id="27" name="Picture 41">
            <a:extLst>
              <a:ext uri="{FF2B5EF4-FFF2-40B4-BE49-F238E27FC236}">
                <a16:creationId xmlns:a16="http://schemas.microsoft.com/office/drawing/2014/main" id="{8EC8973E-15DD-9228-0862-D6801B2DBD3E}"/>
              </a:ext>
            </a:extLst>
          </p:cNvPr>
          <p:cNvPicPr/>
          <p:nvPr/>
        </p:nvPicPr>
        <p:blipFill>
          <a:blip r:embed="rId10"/>
          <a:stretch/>
        </p:blipFill>
        <p:spPr>
          <a:xfrm>
            <a:off x="4719831" y="3298837"/>
            <a:ext cx="3256560" cy="722880"/>
          </a:xfrm>
          <a:prstGeom prst="rect">
            <a:avLst/>
          </a:prstGeom>
          <a:ln>
            <a:noFill/>
          </a:ln>
        </p:spPr>
      </p:pic>
      <p:sp>
        <p:nvSpPr>
          <p:cNvPr id="28" name="CustomShape 14">
            <a:extLst>
              <a:ext uri="{FF2B5EF4-FFF2-40B4-BE49-F238E27FC236}">
                <a16:creationId xmlns:a16="http://schemas.microsoft.com/office/drawing/2014/main" id="{82D09884-F385-E564-CE15-5CCD2FE3D7C4}"/>
              </a:ext>
            </a:extLst>
          </p:cNvPr>
          <p:cNvSpPr/>
          <p:nvPr/>
        </p:nvSpPr>
        <p:spPr>
          <a:xfrm>
            <a:off x="8549511" y="3316117"/>
            <a:ext cx="1165680" cy="653760"/>
          </a:xfrm>
          <a:prstGeom prst="rect">
            <a:avLst/>
          </a:prstGeom>
          <a:noFill/>
          <a:ln>
            <a:solidFill>
              <a:srgbClr val="AB3348"/>
            </a:solidFill>
            <a:round/>
          </a:ln>
          <a:effectLst>
            <a:outerShdw blurRad="40000" dist="2304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/>
        </p:style>
      </p:sp>
      <p:sp>
        <p:nvSpPr>
          <p:cNvPr id="29" name="CustomShape 15">
            <a:extLst>
              <a:ext uri="{FF2B5EF4-FFF2-40B4-BE49-F238E27FC236}">
                <a16:creationId xmlns:a16="http://schemas.microsoft.com/office/drawing/2014/main" id="{EC498D7E-8F85-D7A9-AB17-CCCF529290E4}"/>
              </a:ext>
            </a:extLst>
          </p:cNvPr>
          <p:cNvSpPr/>
          <p:nvPr/>
        </p:nvSpPr>
        <p:spPr>
          <a:xfrm>
            <a:off x="7394991" y="1867837"/>
            <a:ext cx="495000" cy="495000"/>
          </a:xfrm>
          <a:prstGeom prst="ellipse">
            <a:avLst/>
          </a:prstGeom>
          <a:ln>
            <a:rou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/>
        </p:style>
        <p:txBody>
          <a:bodyPr lIns="90000" tIns="45000" rIns="90000" bIns="45000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sz="1800" b="1" i="1" strike="noStrike" spc="-1">
                <a:solidFill>
                  <a:srgbClr val="000000"/>
                </a:solidFill>
                <a:latin typeface="Times New Roman"/>
                <a:ea typeface="DejaVu Sans"/>
              </a:rPr>
              <a:t>u</a:t>
            </a:r>
            <a:endParaRPr lang="en-US" sz="1800" b="0" strike="noStrike" spc="-1">
              <a:latin typeface="Arial"/>
            </a:endParaRPr>
          </a:p>
        </p:txBody>
      </p:sp>
      <p:sp>
        <p:nvSpPr>
          <p:cNvPr id="30" name="CustomShape 16">
            <a:extLst>
              <a:ext uri="{FF2B5EF4-FFF2-40B4-BE49-F238E27FC236}">
                <a16:creationId xmlns:a16="http://schemas.microsoft.com/office/drawing/2014/main" id="{16D61C08-8F70-0D50-424C-9FDCB2284DC0}"/>
              </a:ext>
            </a:extLst>
          </p:cNvPr>
          <p:cNvSpPr/>
          <p:nvPr/>
        </p:nvSpPr>
        <p:spPr>
          <a:xfrm>
            <a:off x="7394991" y="894037"/>
            <a:ext cx="495000" cy="49500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  <a:rou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/>
        </p:style>
      </p:sp>
      <p:sp>
        <p:nvSpPr>
          <p:cNvPr id="31" name="CustomShape 17">
            <a:extLst>
              <a:ext uri="{FF2B5EF4-FFF2-40B4-BE49-F238E27FC236}">
                <a16:creationId xmlns:a16="http://schemas.microsoft.com/office/drawing/2014/main" id="{BE080F8A-BF8F-FDA1-136C-EF28D7A7E0FA}"/>
              </a:ext>
            </a:extLst>
          </p:cNvPr>
          <p:cNvSpPr/>
          <p:nvPr/>
        </p:nvSpPr>
        <p:spPr>
          <a:xfrm rot="5400000">
            <a:off x="7466631" y="1489117"/>
            <a:ext cx="445320" cy="30312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1400" b="1" strike="noStrike" spc="-1">
                <a:solidFill>
                  <a:srgbClr val="9C9C9C"/>
                </a:solidFill>
                <a:latin typeface="Times New Roman"/>
                <a:ea typeface="DejaVu Sans"/>
              </a:rPr>
              <a:t>. . . </a:t>
            </a:r>
            <a:endParaRPr lang="en-US" sz="1400" b="0" strike="noStrike" spc="-1">
              <a:latin typeface="Arial"/>
            </a:endParaRPr>
          </a:p>
        </p:txBody>
      </p:sp>
      <p:pic>
        <p:nvPicPr>
          <p:cNvPr id="32" name="Picture 4">
            <a:extLst>
              <a:ext uri="{FF2B5EF4-FFF2-40B4-BE49-F238E27FC236}">
                <a16:creationId xmlns:a16="http://schemas.microsoft.com/office/drawing/2014/main" id="{34F1B4FA-87B5-ECFE-212F-55B5A8FECE51}"/>
              </a:ext>
            </a:extLst>
          </p:cNvPr>
          <p:cNvPicPr/>
          <p:nvPr/>
        </p:nvPicPr>
        <p:blipFill>
          <a:blip r:embed="rId11"/>
          <a:stretch/>
        </p:blipFill>
        <p:spPr>
          <a:xfrm>
            <a:off x="5423271" y="2187877"/>
            <a:ext cx="159120" cy="207360"/>
          </a:xfrm>
          <a:prstGeom prst="rect">
            <a:avLst/>
          </a:prstGeom>
          <a:ln>
            <a:noFill/>
          </a:ln>
        </p:spPr>
      </p:pic>
      <p:pic>
        <p:nvPicPr>
          <p:cNvPr id="33" name="Picture 6">
            <a:extLst>
              <a:ext uri="{FF2B5EF4-FFF2-40B4-BE49-F238E27FC236}">
                <a16:creationId xmlns:a16="http://schemas.microsoft.com/office/drawing/2014/main" id="{FFB69D1E-346F-2BF3-4987-79EBA4EE14E1}"/>
              </a:ext>
            </a:extLst>
          </p:cNvPr>
          <p:cNvPicPr/>
          <p:nvPr/>
        </p:nvPicPr>
        <p:blipFill>
          <a:blip r:embed="rId12"/>
          <a:stretch/>
        </p:blipFill>
        <p:spPr>
          <a:xfrm>
            <a:off x="7176111" y="2187877"/>
            <a:ext cx="201960" cy="207360"/>
          </a:xfrm>
          <a:prstGeom prst="rect">
            <a:avLst/>
          </a:prstGeom>
          <a:ln>
            <a:noFill/>
          </a:ln>
        </p:spPr>
      </p:pic>
      <p:sp>
        <p:nvSpPr>
          <p:cNvPr id="34" name="CustomShape 18">
            <a:extLst>
              <a:ext uri="{FF2B5EF4-FFF2-40B4-BE49-F238E27FC236}">
                <a16:creationId xmlns:a16="http://schemas.microsoft.com/office/drawing/2014/main" id="{13EEDBA6-6EEC-FB34-AE21-2478E68B056B}"/>
              </a:ext>
            </a:extLst>
          </p:cNvPr>
          <p:cNvSpPr/>
          <p:nvPr/>
        </p:nvSpPr>
        <p:spPr>
          <a:xfrm flipH="1">
            <a:off x="5471511" y="1971157"/>
            <a:ext cx="1861200" cy="360"/>
          </a:xfrm>
          <a:custGeom>
            <a:avLst/>
            <a:gdLst/>
            <a:ahLst/>
            <a:cxnLst/>
            <a:rect l="l" t="t" r="r" b="b"/>
            <a:pathLst>
              <a:path w="21600" h="21600">
                <a:moveTo>
                  <a:pt x="0" y="0"/>
                </a:moveTo>
                <a:lnTo>
                  <a:pt x="21600" y="21600"/>
                </a:lnTo>
              </a:path>
            </a:pathLst>
          </a:custGeom>
          <a:noFill/>
          <a:ln>
            <a:solidFill>
              <a:srgbClr val="2946D7"/>
            </a:solidFill>
            <a:round/>
            <a:tailEnd type="triangle" w="med" len="med"/>
          </a:ln>
          <a:effectLst>
            <a:outerShdw blurRad="40000" dist="20160" dir="5400000" rotWithShape="0">
              <a:srgbClr val="000000">
                <a:alpha val="3800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/>
        </p:style>
      </p:sp>
      <p:sp>
        <p:nvSpPr>
          <p:cNvPr id="35" name="CustomShape 19">
            <a:extLst>
              <a:ext uri="{FF2B5EF4-FFF2-40B4-BE49-F238E27FC236}">
                <a16:creationId xmlns:a16="http://schemas.microsoft.com/office/drawing/2014/main" id="{0B42F2CB-C062-52B0-E214-C9A72EF298F8}"/>
              </a:ext>
            </a:extLst>
          </p:cNvPr>
          <p:cNvSpPr/>
          <p:nvPr/>
        </p:nvSpPr>
        <p:spPr>
          <a:xfrm flipH="1">
            <a:off x="5507151" y="1086637"/>
            <a:ext cx="1727640" cy="797760"/>
          </a:xfrm>
          <a:custGeom>
            <a:avLst/>
            <a:gdLst/>
            <a:ahLst/>
            <a:cxnLst/>
            <a:rect l="l" t="t" r="r" b="b"/>
            <a:pathLst>
              <a:path w="21600" h="21600">
                <a:moveTo>
                  <a:pt x="0" y="0"/>
                </a:moveTo>
                <a:lnTo>
                  <a:pt x="21600" y="21600"/>
                </a:lnTo>
              </a:path>
            </a:pathLst>
          </a:custGeom>
          <a:noFill/>
          <a:ln>
            <a:solidFill>
              <a:srgbClr val="2946D7"/>
            </a:solidFill>
            <a:round/>
            <a:tailEnd type="triangle" w="med" len="med"/>
          </a:ln>
          <a:effectLst>
            <a:outerShdw blurRad="40000" dist="20160" dir="5400000" rotWithShape="0">
              <a:srgbClr val="000000">
                <a:alpha val="3800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/>
        </p:style>
      </p:sp>
      <p:pic>
        <p:nvPicPr>
          <p:cNvPr id="36" name="Picture 10">
            <a:extLst>
              <a:ext uri="{FF2B5EF4-FFF2-40B4-BE49-F238E27FC236}">
                <a16:creationId xmlns:a16="http://schemas.microsoft.com/office/drawing/2014/main" id="{09A91D88-5339-9CD9-5F27-E55D64135D84}"/>
              </a:ext>
            </a:extLst>
          </p:cNvPr>
          <p:cNvPicPr/>
          <p:nvPr/>
        </p:nvPicPr>
        <p:blipFill>
          <a:blip r:embed="rId13"/>
          <a:stretch/>
        </p:blipFill>
        <p:spPr>
          <a:xfrm>
            <a:off x="3405471" y="4442197"/>
            <a:ext cx="5885280" cy="810360"/>
          </a:xfrm>
          <a:prstGeom prst="rect">
            <a:avLst/>
          </a:prstGeom>
          <a:ln>
            <a:noFill/>
          </a:ln>
        </p:spPr>
      </p:pic>
      <p:pic>
        <p:nvPicPr>
          <p:cNvPr id="37" name="Picture 12">
            <a:extLst>
              <a:ext uri="{FF2B5EF4-FFF2-40B4-BE49-F238E27FC236}">
                <a16:creationId xmlns:a16="http://schemas.microsoft.com/office/drawing/2014/main" id="{BC290D02-79EA-1AB1-852D-933525F1C609}"/>
              </a:ext>
            </a:extLst>
          </p:cNvPr>
          <p:cNvPicPr/>
          <p:nvPr/>
        </p:nvPicPr>
        <p:blipFill>
          <a:blip r:embed="rId14"/>
          <a:stretch/>
        </p:blipFill>
        <p:spPr>
          <a:xfrm>
            <a:off x="6202311" y="2221717"/>
            <a:ext cx="301680" cy="216000"/>
          </a:xfrm>
          <a:prstGeom prst="rect">
            <a:avLst/>
          </a:prstGeom>
          <a:ln>
            <a:noFill/>
          </a:ln>
        </p:spPr>
      </p:pic>
      <p:pic>
        <p:nvPicPr>
          <p:cNvPr id="38" name="Picture 16">
            <a:extLst>
              <a:ext uri="{FF2B5EF4-FFF2-40B4-BE49-F238E27FC236}">
                <a16:creationId xmlns:a16="http://schemas.microsoft.com/office/drawing/2014/main" id="{020838B0-F15E-ECDC-671F-ECB99206E5DE}"/>
              </a:ext>
            </a:extLst>
          </p:cNvPr>
          <p:cNvPicPr/>
          <p:nvPr/>
        </p:nvPicPr>
        <p:blipFill>
          <a:blip r:embed="rId15"/>
          <a:stretch/>
        </p:blipFill>
        <p:spPr>
          <a:xfrm>
            <a:off x="3816951" y="5647837"/>
            <a:ext cx="5062320" cy="711360"/>
          </a:xfrm>
          <a:prstGeom prst="rect">
            <a:avLst/>
          </a:prstGeom>
          <a:ln>
            <a:noFill/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1439522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E6EF2DD4-1428-4F29-BED0-012580DEB727}"/>
              </a:ext>
            </a:extLst>
          </p:cNvPr>
          <p:cNvGrpSpPr/>
          <p:nvPr/>
        </p:nvGrpSpPr>
        <p:grpSpPr>
          <a:xfrm>
            <a:off x="1" y="6496048"/>
            <a:ext cx="12192000" cy="381103"/>
            <a:chOff x="-1" y="6496048"/>
            <a:chExt cx="12192001" cy="361952"/>
          </a:xfrm>
        </p:grpSpPr>
        <p:sp>
          <p:nvSpPr>
            <p:cNvPr id="17" name="Dikdörtgen 10">
              <a:extLst>
                <a:ext uri="{FF2B5EF4-FFF2-40B4-BE49-F238E27FC236}">
                  <a16:creationId xmlns:a16="http://schemas.microsoft.com/office/drawing/2014/main" id="{C14596DF-271A-400A-B0AE-693FCDF2F217}"/>
                </a:ext>
              </a:extLst>
            </p:cNvPr>
            <p:cNvSpPr/>
            <p:nvPr/>
          </p:nvSpPr>
          <p:spPr>
            <a:xfrm>
              <a:off x="10115547" y="6496049"/>
              <a:ext cx="2076453" cy="361951"/>
            </a:xfrm>
            <a:prstGeom prst="rect">
              <a:avLst/>
            </a:prstGeom>
            <a:solidFill>
              <a:srgbClr val="2198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dirty="0"/>
                <a:t>   Özgür Martin</a:t>
              </a:r>
            </a:p>
          </p:txBody>
        </p:sp>
        <p:sp>
          <p:nvSpPr>
            <p:cNvPr id="18" name="Dikdörtgen 10">
              <a:extLst>
                <a:ext uri="{FF2B5EF4-FFF2-40B4-BE49-F238E27FC236}">
                  <a16:creationId xmlns:a16="http://schemas.microsoft.com/office/drawing/2014/main" id="{84A5B1F6-64B9-4792-8088-33FD44F5342F}"/>
                </a:ext>
              </a:extLst>
            </p:cNvPr>
            <p:cNvSpPr/>
            <p:nvPr/>
          </p:nvSpPr>
          <p:spPr>
            <a:xfrm>
              <a:off x="-1" y="6496048"/>
              <a:ext cx="10151743" cy="361952"/>
            </a:xfrm>
            <a:prstGeom prst="rect">
              <a:avLst/>
            </a:prstGeom>
            <a:solidFill>
              <a:srgbClr val="2198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altLang="ko-KR" dirty="0" err="1">
                  <a:solidFill>
                    <a:schemeClr val="bg1"/>
                  </a:solidFill>
                  <a:cs typeface="Arial" pitchFamily="34" charset="0"/>
                </a:rPr>
                <a:t>Neural</a:t>
              </a:r>
              <a:r>
                <a:rPr lang="tr-TR" altLang="ko-KR" dirty="0">
                  <a:solidFill>
                    <a:schemeClr val="bg1"/>
                  </a:solidFill>
                  <a:cs typeface="Arial" pitchFamily="34" charset="0"/>
                </a:rPr>
                <a:t> Networks</a:t>
              </a:r>
            </a:p>
          </p:txBody>
        </p:sp>
      </p:grpSp>
      <p:sp>
        <p:nvSpPr>
          <p:cNvPr id="19" name="CustomShape 1">
            <a:extLst>
              <a:ext uri="{FF2B5EF4-FFF2-40B4-BE49-F238E27FC236}">
                <a16:creationId xmlns:a16="http://schemas.microsoft.com/office/drawing/2014/main" id="{588052EC-6859-C242-A7B6-C4BA197E5BF1}"/>
              </a:ext>
            </a:extLst>
          </p:cNvPr>
          <p:cNvSpPr/>
          <p:nvPr/>
        </p:nvSpPr>
        <p:spPr>
          <a:xfrm>
            <a:off x="451110" y="246985"/>
            <a:ext cx="8170920" cy="106488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>
            <a:noAutofit/>
          </a:bodyPr>
          <a:lstStyle/>
          <a:p>
            <a:pPr>
              <a:lnSpc>
                <a:spcPts val="3200"/>
              </a:lnSpc>
            </a:pPr>
            <a:r>
              <a:rPr lang="en-US" sz="2800" b="0" strike="noStrike" spc="-1" dirty="0">
                <a:solidFill>
                  <a:srgbClr val="AB3348"/>
                </a:solidFill>
                <a:latin typeface="Times New Roman"/>
                <a:ea typeface="DejaVu Sans"/>
              </a:rPr>
              <a:t>Network Training</a:t>
            </a:r>
            <a:br>
              <a:rPr dirty="0"/>
            </a:br>
            <a:r>
              <a:rPr lang="en-US" sz="2000" b="0" strike="noStrike" spc="-1" dirty="0">
                <a:solidFill>
                  <a:srgbClr val="AB3348"/>
                </a:solidFill>
                <a:latin typeface="Times New Roman"/>
                <a:ea typeface="DejaVu Sans"/>
              </a:rPr>
              <a:t>Backpropagation</a:t>
            </a:r>
            <a:endParaRPr lang="en-US" sz="2000" b="0" strike="noStrike" spc="-1" dirty="0">
              <a:latin typeface="Arial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392502A-439E-4DE8-3791-66E3140C2BA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20827" y="679467"/>
            <a:ext cx="6163702" cy="549906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715860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E6EF2DD4-1428-4F29-BED0-012580DEB727}"/>
              </a:ext>
            </a:extLst>
          </p:cNvPr>
          <p:cNvGrpSpPr/>
          <p:nvPr/>
        </p:nvGrpSpPr>
        <p:grpSpPr>
          <a:xfrm>
            <a:off x="1" y="6496048"/>
            <a:ext cx="12192000" cy="381103"/>
            <a:chOff x="-1" y="6496048"/>
            <a:chExt cx="12192001" cy="361952"/>
          </a:xfrm>
        </p:grpSpPr>
        <p:sp>
          <p:nvSpPr>
            <p:cNvPr id="17" name="Dikdörtgen 10">
              <a:extLst>
                <a:ext uri="{FF2B5EF4-FFF2-40B4-BE49-F238E27FC236}">
                  <a16:creationId xmlns:a16="http://schemas.microsoft.com/office/drawing/2014/main" id="{C14596DF-271A-400A-B0AE-693FCDF2F217}"/>
                </a:ext>
              </a:extLst>
            </p:cNvPr>
            <p:cNvSpPr/>
            <p:nvPr/>
          </p:nvSpPr>
          <p:spPr>
            <a:xfrm>
              <a:off x="10115547" y="6496049"/>
              <a:ext cx="2076453" cy="361951"/>
            </a:xfrm>
            <a:prstGeom prst="rect">
              <a:avLst/>
            </a:prstGeom>
            <a:solidFill>
              <a:srgbClr val="2198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dirty="0"/>
                <a:t>   Özgür Martin</a:t>
              </a:r>
            </a:p>
          </p:txBody>
        </p:sp>
        <p:sp>
          <p:nvSpPr>
            <p:cNvPr id="18" name="Dikdörtgen 10">
              <a:extLst>
                <a:ext uri="{FF2B5EF4-FFF2-40B4-BE49-F238E27FC236}">
                  <a16:creationId xmlns:a16="http://schemas.microsoft.com/office/drawing/2014/main" id="{84A5B1F6-64B9-4792-8088-33FD44F5342F}"/>
                </a:ext>
              </a:extLst>
            </p:cNvPr>
            <p:cNvSpPr/>
            <p:nvPr/>
          </p:nvSpPr>
          <p:spPr>
            <a:xfrm>
              <a:off x="-1" y="6496048"/>
              <a:ext cx="10151743" cy="361952"/>
            </a:xfrm>
            <a:prstGeom prst="rect">
              <a:avLst/>
            </a:prstGeom>
            <a:solidFill>
              <a:srgbClr val="2198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altLang="ko-KR" dirty="0" err="1">
                  <a:solidFill>
                    <a:schemeClr val="bg1"/>
                  </a:solidFill>
                  <a:cs typeface="Arial" pitchFamily="34" charset="0"/>
                </a:rPr>
                <a:t>Neural</a:t>
              </a:r>
              <a:r>
                <a:rPr lang="tr-TR" altLang="ko-KR" dirty="0">
                  <a:solidFill>
                    <a:schemeClr val="bg1"/>
                  </a:solidFill>
                  <a:cs typeface="Arial" pitchFamily="34" charset="0"/>
                </a:rPr>
                <a:t> Networks</a:t>
              </a:r>
            </a:p>
          </p:txBody>
        </p:sp>
      </p:grpSp>
      <p:sp>
        <p:nvSpPr>
          <p:cNvPr id="5" name="Rectangle 4">
            <a:extLst>
              <a:ext uri="{FF2B5EF4-FFF2-40B4-BE49-F238E27FC236}">
                <a16:creationId xmlns:a16="http://schemas.microsoft.com/office/drawing/2014/main" id="{144CBF60-BD67-FDE1-C4FB-591039D043AD}"/>
              </a:ext>
            </a:extLst>
          </p:cNvPr>
          <p:cNvSpPr/>
          <p:nvPr/>
        </p:nvSpPr>
        <p:spPr>
          <a:xfrm>
            <a:off x="2637222" y="1286046"/>
            <a:ext cx="7418788" cy="4912802"/>
          </a:xfrm>
          <a:prstGeom prst="rect">
            <a:avLst/>
          </a:prstGeom>
          <a:noFill/>
          <a:ln>
            <a:solidFill>
              <a:srgbClr val="AB3348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2633E32-F461-077E-D85D-C6E46283F11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45876" y="1924550"/>
            <a:ext cx="1397318" cy="50006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28E568E-01ED-7029-115C-47B58A9E455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916264" y="1959849"/>
            <a:ext cx="1008698" cy="237173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DE9B251-CCF5-BE5D-88CB-431A8A2B6C86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r="57179"/>
          <a:stretch/>
        </p:blipFill>
        <p:spPr>
          <a:xfrm>
            <a:off x="7587716" y="1937409"/>
            <a:ext cx="1115938" cy="237173"/>
          </a:xfrm>
          <a:prstGeom prst="rect">
            <a:avLst/>
          </a:prstGeom>
        </p:spPr>
      </p:pic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91E3B9EC-F813-FA46-92FE-B46BA359D18E}"/>
              </a:ext>
            </a:extLst>
          </p:cNvPr>
          <p:cNvSpPr txBox="1">
            <a:spLocks/>
          </p:cNvSpPr>
          <p:nvPr/>
        </p:nvSpPr>
        <p:spPr>
          <a:xfrm>
            <a:off x="2763091" y="2335073"/>
            <a:ext cx="6628231" cy="127051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88000" indent="-288000" algn="l" defTabSz="457200" rtl="0" eaLnBrk="1" latinLnBrk="0" hangingPunct="1">
              <a:lnSpc>
                <a:spcPts val="2500"/>
              </a:lnSpc>
              <a:spcBef>
                <a:spcPts val="0"/>
              </a:spcBef>
              <a:buSzPct val="130000"/>
              <a:buFont typeface="Arial"/>
              <a:buChar char="•"/>
              <a:defRPr sz="2000" b="0" i="0" kern="1200" baseline="0">
                <a:solidFill>
                  <a:srgbClr val="005117"/>
                </a:solidFill>
                <a:latin typeface="Times New Roman"/>
                <a:ea typeface="+mn-ea"/>
                <a:cs typeface="Times New Roman"/>
              </a:defRPr>
            </a:lvl1pPr>
            <a:lvl2pPr marL="576000" indent="-288000" algn="l" defTabSz="457200" rtl="0" eaLnBrk="1" latinLnBrk="0" hangingPunct="1">
              <a:lnSpc>
                <a:spcPts val="2500"/>
              </a:lnSpc>
              <a:spcBef>
                <a:spcPts val="0"/>
              </a:spcBef>
              <a:buSzPct val="130000"/>
              <a:buFont typeface="Arial"/>
              <a:buChar char="•"/>
              <a:defRPr sz="2000" b="0" i="0" kern="1200">
                <a:solidFill>
                  <a:srgbClr val="005117"/>
                </a:solidFill>
                <a:latin typeface="Times New Roman"/>
                <a:ea typeface="+mn-ea"/>
                <a:cs typeface="Times New Roman"/>
              </a:defRPr>
            </a:lvl2pPr>
            <a:lvl3pPr marL="864000" indent="-288000" algn="l" defTabSz="457200" rtl="0" eaLnBrk="1" latinLnBrk="0" hangingPunct="1">
              <a:lnSpc>
                <a:spcPts val="2500"/>
              </a:lnSpc>
              <a:spcBef>
                <a:spcPts val="0"/>
              </a:spcBef>
              <a:buSzPct val="130000"/>
              <a:buFont typeface="Arial"/>
              <a:buChar char="•"/>
              <a:defRPr sz="2000" b="0" i="0" kern="1200" baseline="0">
                <a:solidFill>
                  <a:srgbClr val="005117"/>
                </a:solidFill>
                <a:latin typeface="Times New Roman"/>
                <a:ea typeface="+mn-ea"/>
                <a:cs typeface="Times New Roman"/>
              </a:defRPr>
            </a:lvl3pPr>
            <a:lvl4pPr marL="1152000" indent="-288000" algn="l" defTabSz="457200" rtl="0" eaLnBrk="1" latinLnBrk="0" hangingPunct="1">
              <a:lnSpc>
                <a:spcPts val="2500"/>
              </a:lnSpc>
              <a:spcBef>
                <a:spcPts val="0"/>
              </a:spcBef>
              <a:buSzPct val="130000"/>
              <a:buFont typeface="Arial"/>
              <a:buChar char="•"/>
              <a:defRPr sz="2000" b="0" i="0" kern="1200">
                <a:solidFill>
                  <a:srgbClr val="005117"/>
                </a:solidFill>
                <a:latin typeface="Times New Roman"/>
                <a:ea typeface="+mn-ea"/>
                <a:cs typeface="Times New Roman"/>
              </a:defRPr>
            </a:lvl4pPr>
            <a:lvl5pPr marL="1440000" indent="-288000" algn="l" defTabSz="457200" rtl="0" eaLnBrk="1" latinLnBrk="0" hangingPunct="1">
              <a:lnSpc>
                <a:spcPts val="2500"/>
              </a:lnSpc>
              <a:spcBef>
                <a:spcPts val="0"/>
              </a:spcBef>
              <a:buSzPct val="130000"/>
              <a:buFont typeface="Arial"/>
              <a:buChar char="•"/>
              <a:defRPr sz="2000" b="0" i="0" kern="1200" baseline="0">
                <a:solidFill>
                  <a:srgbClr val="005117"/>
                </a:solidFill>
                <a:latin typeface="Times New Roman"/>
                <a:ea typeface="+mn-ea"/>
                <a:cs typeface="Times New Roman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200000"/>
              </a:lnSpc>
              <a:buFont typeface="Arial"/>
              <a:buNone/>
            </a:pPr>
            <a:r>
              <a:rPr lang="en-US" sz="1800" dirty="0"/>
              <a:t>Evaluate the following for the output units:</a:t>
            </a:r>
          </a:p>
          <a:p>
            <a:pPr marL="0" indent="0">
              <a:lnSpc>
                <a:spcPct val="200000"/>
              </a:lnSpc>
              <a:buFont typeface="Arial"/>
              <a:buNone/>
            </a:pPr>
            <a:endParaRPr lang="en-US" sz="1800" dirty="0"/>
          </a:p>
        </p:txBody>
      </p:sp>
      <p:pic>
        <p:nvPicPr>
          <p:cNvPr id="10" name="Picture 16" descr="http://latex2png.com/output/latex_b5c404aa8ee1fe4a30943b736a0acdda.png">
            <a:extLst>
              <a:ext uri="{FF2B5EF4-FFF2-40B4-BE49-F238E27FC236}">
                <a16:creationId xmlns:a16="http://schemas.microsoft.com/office/drawing/2014/main" id="{6FFF41F4-8BC5-1A68-02D8-6C54B7A1BF5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4412" y="2960422"/>
            <a:ext cx="3797618" cy="5343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C048F55-147C-4677-5EF9-6059408884D6}"/>
              </a:ext>
            </a:extLst>
          </p:cNvPr>
          <p:cNvSpPr txBox="1">
            <a:spLocks/>
          </p:cNvSpPr>
          <p:nvPr/>
        </p:nvSpPr>
        <p:spPr>
          <a:xfrm>
            <a:off x="2763091" y="3429000"/>
            <a:ext cx="6628231" cy="16856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88000" indent="-288000" algn="l" defTabSz="457200" rtl="0" eaLnBrk="1" latinLnBrk="0" hangingPunct="1">
              <a:lnSpc>
                <a:spcPts val="2500"/>
              </a:lnSpc>
              <a:spcBef>
                <a:spcPts val="0"/>
              </a:spcBef>
              <a:buSzPct val="130000"/>
              <a:buFont typeface="Arial"/>
              <a:buChar char="•"/>
              <a:defRPr sz="2000" b="0" i="0" kern="1200" baseline="0">
                <a:solidFill>
                  <a:srgbClr val="005117"/>
                </a:solidFill>
                <a:latin typeface="Times New Roman"/>
                <a:ea typeface="+mn-ea"/>
                <a:cs typeface="Times New Roman"/>
              </a:defRPr>
            </a:lvl1pPr>
            <a:lvl2pPr marL="576000" indent="-288000" algn="l" defTabSz="457200" rtl="0" eaLnBrk="1" latinLnBrk="0" hangingPunct="1">
              <a:lnSpc>
                <a:spcPts val="2500"/>
              </a:lnSpc>
              <a:spcBef>
                <a:spcPts val="0"/>
              </a:spcBef>
              <a:buSzPct val="130000"/>
              <a:buFont typeface="Arial"/>
              <a:buChar char="•"/>
              <a:defRPr sz="2000" b="0" i="0" kern="1200">
                <a:solidFill>
                  <a:srgbClr val="005117"/>
                </a:solidFill>
                <a:latin typeface="Times New Roman"/>
                <a:ea typeface="+mn-ea"/>
                <a:cs typeface="Times New Roman"/>
              </a:defRPr>
            </a:lvl2pPr>
            <a:lvl3pPr marL="864000" indent="-288000" algn="l" defTabSz="457200" rtl="0" eaLnBrk="1" latinLnBrk="0" hangingPunct="1">
              <a:lnSpc>
                <a:spcPts val="2500"/>
              </a:lnSpc>
              <a:spcBef>
                <a:spcPts val="0"/>
              </a:spcBef>
              <a:buSzPct val="130000"/>
              <a:buFont typeface="Arial"/>
              <a:buChar char="•"/>
              <a:defRPr sz="2000" b="0" i="0" kern="1200" baseline="0">
                <a:solidFill>
                  <a:srgbClr val="005117"/>
                </a:solidFill>
                <a:latin typeface="Times New Roman"/>
                <a:ea typeface="+mn-ea"/>
                <a:cs typeface="Times New Roman"/>
              </a:defRPr>
            </a:lvl3pPr>
            <a:lvl4pPr marL="1152000" indent="-288000" algn="l" defTabSz="457200" rtl="0" eaLnBrk="1" latinLnBrk="0" hangingPunct="1">
              <a:lnSpc>
                <a:spcPts val="2500"/>
              </a:lnSpc>
              <a:spcBef>
                <a:spcPts val="0"/>
              </a:spcBef>
              <a:buSzPct val="130000"/>
              <a:buFont typeface="Arial"/>
              <a:buChar char="•"/>
              <a:defRPr sz="2000" b="0" i="0" kern="1200">
                <a:solidFill>
                  <a:srgbClr val="005117"/>
                </a:solidFill>
                <a:latin typeface="Times New Roman"/>
                <a:ea typeface="+mn-ea"/>
                <a:cs typeface="Times New Roman"/>
              </a:defRPr>
            </a:lvl4pPr>
            <a:lvl5pPr marL="1440000" indent="-288000" algn="l" defTabSz="457200" rtl="0" eaLnBrk="1" latinLnBrk="0" hangingPunct="1">
              <a:lnSpc>
                <a:spcPts val="2500"/>
              </a:lnSpc>
              <a:spcBef>
                <a:spcPts val="0"/>
              </a:spcBef>
              <a:buSzPct val="130000"/>
              <a:buFont typeface="Arial"/>
              <a:buChar char="•"/>
              <a:defRPr sz="2000" b="0" i="0" kern="1200" baseline="0">
                <a:solidFill>
                  <a:srgbClr val="005117"/>
                </a:solidFill>
                <a:latin typeface="Times New Roman"/>
                <a:ea typeface="+mn-ea"/>
                <a:cs typeface="Times New Roman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200000"/>
              </a:lnSpc>
              <a:buFont typeface="Arial"/>
              <a:buNone/>
            </a:pPr>
            <a:r>
              <a:rPr lang="en-US" sz="1800"/>
              <a:t>Backpropagate the following for the hidden units:</a:t>
            </a:r>
          </a:p>
          <a:p>
            <a:pPr marL="0" indent="0">
              <a:lnSpc>
                <a:spcPct val="200000"/>
              </a:lnSpc>
              <a:buFont typeface="Arial"/>
              <a:buNone/>
            </a:pPr>
            <a:endParaRPr lang="en-US" sz="1800"/>
          </a:p>
          <a:p>
            <a:pPr marL="0" indent="0">
              <a:lnSpc>
                <a:spcPct val="200000"/>
              </a:lnSpc>
              <a:buFont typeface="Arial"/>
              <a:buNone/>
            </a:pPr>
            <a:endParaRPr lang="en-US" sz="1800" dirty="0"/>
          </a:p>
        </p:txBody>
      </p:sp>
      <p:pic>
        <p:nvPicPr>
          <p:cNvPr id="12" name="Picture 10" descr="http://latex2png.com/output/latex_439710d048a16977f4d6bd47777211b7.png">
            <a:extLst>
              <a:ext uri="{FF2B5EF4-FFF2-40B4-BE49-F238E27FC236}">
                <a16:creationId xmlns:a16="http://schemas.microsoft.com/office/drawing/2014/main" id="{06E9E484-1DC6-1A1D-DAA6-0D23295C83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07192" y="4190533"/>
            <a:ext cx="4414838" cy="6086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3B5F3AD7-D9BE-B802-E31F-834E4FEF1899}"/>
              </a:ext>
            </a:extLst>
          </p:cNvPr>
          <p:cNvSpPr txBox="1">
            <a:spLocks/>
          </p:cNvSpPr>
          <p:nvPr/>
        </p:nvSpPr>
        <p:spPr>
          <a:xfrm>
            <a:off x="2763091" y="4799181"/>
            <a:ext cx="6628231" cy="144441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88000" indent="-288000" algn="l" defTabSz="457200" rtl="0" eaLnBrk="1" latinLnBrk="0" hangingPunct="1">
              <a:lnSpc>
                <a:spcPts val="2500"/>
              </a:lnSpc>
              <a:spcBef>
                <a:spcPts val="0"/>
              </a:spcBef>
              <a:buSzPct val="130000"/>
              <a:buFont typeface="Arial"/>
              <a:buChar char="•"/>
              <a:defRPr sz="2000" b="0" i="0" kern="1200" baseline="0">
                <a:solidFill>
                  <a:srgbClr val="005117"/>
                </a:solidFill>
                <a:latin typeface="Times New Roman"/>
                <a:ea typeface="+mn-ea"/>
                <a:cs typeface="Times New Roman"/>
              </a:defRPr>
            </a:lvl1pPr>
            <a:lvl2pPr marL="576000" indent="-288000" algn="l" defTabSz="457200" rtl="0" eaLnBrk="1" latinLnBrk="0" hangingPunct="1">
              <a:lnSpc>
                <a:spcPts val="2500"/>
              </a:lnSpc>
              <a:spcBef>
                <a:spcPts val="0"/>
              </a:spcBef>
              <a:buSzPct val="130000"/>
              <a:buFont typeface="Arial"/>
              <a:buChar char="•"/>
              <a:defRPr sz="2000" b="0" i="0" kern="1200">
                <a:solidFill>
                  <a:srgbClr val="005117"/>
                </a:solidFill>
                <a:latin typeface="Times New Roman"/>
                <a:ea typeface="+mn-ea"/>
                <a:cs typeface="Times New Roman"/>
              </a:defRPr>
            </a:lvl2pPr>
            <a:lvl3pPr marL="864000" indent="-288000" algn="l" defTabSz="457200" rtl="0" eaLnBrk="1" latinLnBrk="0" hangingPunct="1">
              <a:lnSpc>
                <a:spcPts val="2500"/>
              </a:lnSpc>
              <a:spcBef>
                <a:spcPts val="0"/>
              </a:spcBef>
              <a:buSzPct val="130000"/>
              <a:buFont typeface="Arial"/>
              <a:buChar char="•"/>
              <a:defRPr sz="2000" b="0" i="0" kern="1200" baseline="0">
                <a:solidFill>
                  <a:srgbClr val="005117"/>
                </a:solidFill>
                <a:latin typeface="Times New Roman"/>
                <a:ea typeface="+mn-ea"/>
                <a:cs typeface="Times New Roman"/>
              </a:defRPr>
            </a:lvl3pPr>
            <a:lvl4pPr marL="1152000" indent="-288000" algn="l" defTabSz="457200" rtl="0" eaLnBrk="1" latinLnBrk="0" hangingPunct="1">
              <a:lnSpc>
                <a:spcPts val="2500"/>
              </a:lnSpc>
              <a:spcBef>
                <a:spcPts val="0"/>
              </a:spcBef>
              <a:buSzPct val="130000"/>
              <a:buFont typeface="Arial"/>
              <a:buChar char="•"/>
              <a:defRPr sz="2000" b="0" i="0" kern="1200">
                <a:solidFill>
                  <a:srgbClr val="005117"/>
                </a:solidFill>
                <a:latin typeface="Times New Roman"/>
                <a:ea typeface="+mn-ea"/>
                <a:cs typeface="Times New Roman"/>
              </a:defRPr>
            </a:lvl4pPr>
            <a:lvl5pPr marL="1440000" indent="-288000" algn="l" defTabSz="457200" rtl="0" eaLnBrk="1" latinLnBrk="0" hangingPunct="1">
              <a:lnSpc>
                <a:spcPts val="2500"/>
              </a:lnSpc>
              <a:spcBef>
                <a:spcPts val="0"/>
              </a:spcBef>
              <a:buSzPct val="130000"/>
              <a:buFont typeface="Arial"/>
              <a:buChar char="•"/>
              <a:defRPr sz="2000" b="0" i="0" kern="1200" baseline="0">
                <a:solidFill>
                  <a:srgbClr val="005117"/>
                </a:solidFill>
                <a:latin typeface="Times New Roman"/>
                <a:ea typeface="+mn-ea"/>
                <a:cs typeface="Times New Roman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200000"/>
              </a:lnSpc>
              <a:buFont typeface="Arial"/>
              <a:buNone/>
            </a:pPr>
            <a:r>
              <a:rPr lang="en-US" sz="1800"/>
              <a:t>Evaluate the components of the gradient:</a:t>
            </a:r>
            <a:endParaRPr lang="en-US" sz="1800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CBAAD2E9-4F37-3160-6A51-2DEE2384133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329394" y="5507009"/>
            <a:ext cx="2443163" cy="542925"/>
          </a:xfrm>
          <a:prstGeom prst="rect">
            <a:avLst/>
          </a:prstGeom>
        </p:spPr>
      </p:pic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19B0CF87-84C5-B982-5AC8-DCB12F67A42F}"/>
              </a:ext>
            </a:extLst>
          </p:cNvPr>
          <p:cNvSpPr txBox="1">
            <a:spLocks/>
          </p:cNvSpPr>
          <p:nvPr/>
        </p:nvSpPr>
        <p:spPr>
          <a:xfrm>
            <a:off x="2763091" y="1192200"/>
            <a:ext cx="6628231" cy="1349048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200000"/>
              </a:lnSpc>
              <a:buFont typeface="Arial" panose="020B0604020202020204" pitchFamily="34" charset="0"/>
              <a:buNone/>
            </a:pPr>
            <a:r>
              <a:rPr lang="en-US" sz="1800">
                <a:solidFill>
                  <a:srgbClr val="005117"/>
                </a:solidFill>
                <a:latin typeface="Times New Roman"/>
                <a:cs typeface="Times New Roman"/>
              </a:rPr>
              <a:t>Apply an input vector </a:t>
            </a:r>
            <a:r>
              <a:rPr lang="en-US" sz="1800" i="1">
                <a:solidFill>
                  <a:srgbClr val="005117"/>
                </a:solidFill>
                <a:latin typeface="Times New Roman"/>
                <a:cs typeface="Times New Roman"/>
              </a:rPr>
              <a:t>x</a:t>
            </a:r>
            <a:r>
              <a:rPr lang="en-US" sz="1800" i="1" baseline="-25000">
                <a:solidFill>
                  <a:srgbClr val="005117"/>
                </a:solidFill>
                <a:latin typeface="Times New Roman"/>
                <a:cs typeface="Times New Roman"/>
              </a:rPr>
              <a:t>i</a:t>
            </a:r>
            <a:r>
              <a:rPr lang="en-US" sz="1800">
                <a:solidFill>
                  <a:srgbClr val="005117"/>
                </a:solidFill>
                <a:latin typeface="Times New Roman"/>
                <a:cs typeface="Times New Roman"/>
              </a:rPr>
              <a:t> and propagate it through the network using </a:t>
            </a:r>
            <a:endParaRPr lang="tr-TR" sz="1800">
              <a:solidFill>
                <a:srgbClr val="005117"/>
              </a:solidFill>
              <a:latin typeface="Times New Roman"/>
              <a:cs typeface="Times New Roman"/>
            </a:endParaRPr>
          </a:p>
          <a:p>
            <a:pPr marL="0" indent="0">
              <a:lnSpc>
                <a:spcPct val="200000"/>
              </a:lnSpc>
              <a:buFont typeface="Arial" panose="020B0604020202020204" pitchFamily="34" charset="0"/>
              <a:buNone/>
            </a:pPr>
            <a:endParaRPr lang="en-US" sz="1800" dirty="0">
              <a:solidFill>
                <a:srgbClr val="005117"/>
              </a:solidFill>
              <a:latin typeface="Times New Roman"/>
              <a:cs typeface="Times New Roman"/>
            </a:endParaRPr>
          </a:p>
        </p:txBody>
      </p:sp>
      <p:sp>
        <p:nvSpPr>
          <p:cNvPr id="19" name="CustomShape 1">
            <a:extLst>
              <a:ext uri="{FF2B5EF4-FFF2-40B4-BE49-F238E27FC236}">
                <a16:creationId xmlns:a16="http://schemas.microsoft.com/office/drawing/2014/main" id="{588052EC-6859-C242-A7B6-C4BA197E5BF1}"/>
              </a:ext>
            </a:extLst>
          </p:cNvPr>
          <p:cNvSpPr/>
          <p:nvPr/>
        </p:nvSpPr>
        <p:spPr>
          <a:xfrm>
            <a:off x="451110" y="246985"/>
            <a:ext cx="8170920" cy="106488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>
            <a:noAutofit/>
          </a:bodyPr>
          <a:lstStyle/>
          <a:p>
            <a:pPr>
              <a:lnSpc>
                <a:spcPts val="3200"/>
              </a:lnSpc>
            </a:pPr>
            <a:r>
              <a:rPr lang="en-US" sz="2800" b="0" strike="noStrike" spc="-1" dirty="0">
                <a:solidFill>
                  <a:srgbClr val="AB3348"/>
                </a:solidFill>
                <a:latin typeface="Times New Roman"/>
                <a:ea typeface="DejaVu Sans"/>
              </a:rPr>
              <a:t>Network Training</a:t>
            </a:r>
            <a:br>
              <a:rPr dirty="0"/>
            </a:br>
            <a:r>
              <a:rPr lang="en-US" sz="2000" b="0" strike="noStrike" spc="-1" dirty="0">
                <a:solidFill>
                  <a:srgbClr val="AB3348"/>
                </a:solidFill>
                <a:latin typeface="Times New Roman"/>
                <a:ea typeface="DejaVu Sans"/>
              </a:rPr>
              <a:t>Backpropagation</a:t>
            </a:r>
            <a:endParaRPr lang="en-US" sz="2000" b="0" strike="noStrike" spc="-1" dirty="0">
              <a:latin typeface="Arial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718873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9" grpId="0"/>
      <p:bldP spid="11" grpId="0"/>
      <p:bldP spid="13" grpId="0"/>
      <p:bldP spid="15" grpId="0" uiExpand="1" build="p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E6EF2DD4-1428-4F29-BED0-012580DEB727}"/>
              </a:ext>
            </a:extLst>
          </p:cNvPr>
          <p:cNvGrpSpPr/>
          <p:nvPr/>
        </p:nvGrpSpPr>
        <p:grpSpPr>
          <a:xfrm>
            <a:off x="1" y="6496048"/>
            <a:ext cx="12192000" cy="381103"/>
            <a:chOff x="-1" y="6496048"/>
            <a:chExt cx="12192001" cy="361952"/>
          </a:xfrm>
        </p:grpSpPr>
        <p:sp>
          <p:nvSpPr>
            <p:cNvPr id="17" name="Dikdörtgen 10">
              <a:extLst>
                <a:ext uri="{FF2B5EF4-FFF2-40B4-BE49-F238E27FC236}">
                  <a16:creationId xmlns:a16="http://schemas.microsoft.com/office/drawing/2014/main" id="{C14596DF-271A-400A-B0AE-693FCDF2F217}"/>
                </a:ext>
              </a:extLst>
            </p:cNvPr>
            <p:cNvSpPr/>
            <p:nvPr/>
          </p:nvSpPr>
          <p:spPr>
            <a:xfrm>
              <a:off x="10115547" y="6496049"/>
              <a:ext cx="2076453" cy="361951"/>
            </a:xfrm>
            <a:prstGeom prst="rect">
              <a:avLst/>
            </a:prstGeom>
            <a:solidFill>
              <a:srgbClr val="2198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dirty="0"/>
                <a:t>   Özgür Martin</a:t>
              </a:r>
            </a:p>
          </p:txBody>
        </p:sp>
        <p:sp>
          <p:nvSpPr>
            <p:cNvPr id="18" name="Dikdörtgen 10">
              <a:extLst>
                <a:ext uri="{FF2B5EF4-FFF2-40B4-BE49-F238E27FC236}">
                  <a16:creationId xmlns:a16="http://schemas.microsoft.com/office/drawing/2014/main" id="{84A5B1F6-64B9-4792-8088-33FD44F5342F}"/>
                </a:ext>
              </a:extLst>
            </p:cNvPr>
            <p:cNvSpPr/>
            <p:nvPr/>
          </p:nvSpPr>
          <p:spPr>
            <a:xfrm>
              <a:off x="-1" y="6496048"/>
              <a:ext cx="10151743" cy="361952"/>
            </a:xfrm>
            <a:prstGeom prst="rect">
              <a:avLst/>
            </a:prstGeom>
            <a:solidFill>
              <a:srgbClr val="2198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altLang="ko-KR" dirty="0" err="1">
                  <a:solidFill>
                    <a:schemeClr val="bg1"/>
                  </a:solidFill>
                  <a:cs typeface="Arial" pitchFamily="34" charset="0"/>
                </a:rPr>
                <a:t>Neural</a:t>
              </a:r>
              <a:r>
                <a:rPr lang="tr-TR" altLang="ko-KR" dirty="0">
                  <a:solidFill>
                    <a:schemeClr val="bg1"/>
                  </a:solidFill>
                  <a:cs typeface="Arial" pitchFamily="34" charset="0"/>
                </a:rPr>
                <a:t> Networks</a:t>
              </a:r>
            </a:p>
          </p:txBody>
        </p:sp>
      </p:grpSp>
      <p:sp>
        <p:nvSpPr>
          <p:cNvPr id="19" name="CustomShape 1">
            <a:extLst>
              <a:ext uri="{FF2B5EF4-FFF2-40B4-BE49-F238E27FC236}">
                <a16:creationId xmlns:a16="http://schemas.microsoft.com/office/drawing/2014/main" id="{588052EC-6859-C242-A7B6-C4BA197E5BF1}"/>
              </a:ext>
            </a:extLst>
          </p:cNvPr>
          <p:cNvSpPr/>
          <p:nvPr/>
        </p:nvSpPr>
        <p:spPr>
          <a:xfrm>
            <a:off x="451110" y="246985"/>
            <a:ext cx="8170920" cy="106488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>
            <a:noAutofit/>
          </a:bodyPr>
          <a:lstStyle/>
          <a:p>
            <a:pPr>
              <a:lnSpc>
                <a:spcPts val="3200"/>
              </a:lnSpc>
            </a:pPr>
            <a:r>
              <a:rPr lang="en-US" sz="2800" b="0" strike="noStrike" spc="-1" dirty="0">
                <a:solidFill>
                  <a:srgbClr val="AB3348"/>
                </a:solidFill>
                <a:latin typeface="Times New Roman"/>
                <a:ea typeface="DejaVu Sans"/>
              </a:rPr>
              <a:t>Network Training</a:t>
            </a:r>
            <a:br>
              <a:rPr dirty="0"/>
            </a:br>
            <a:endParaRPr lang="en-US" sz="2000" b="0" strike="noStrike" spc="-1" dirty="0">
              <a:latin typeface="Arial"/>
            </a:endParaRPr>
          </a:p>
        </p:txBody>
      </p:sp>
      <p:sp>
        <p:nvSpPr>
          <p:cNvPr id="6" name="CustomShape 1">
            <a:extLst>
              <a:ext uri="{FF2B5EF4-FFF2-40B4-BE49-F238E27FC236}">
                <a16:creationId xmlns:a16="http://schemas.microsoft.com/office/drawing/2014/main" id="{5A25893F-37E3-31FE-603C-FB135DDFEA45}"/>
              </a:ext>
            </a:extLst>
          </p:cNvPr>
          <p:cNvSpPr/>
          <p:nvPr/>
        </p:nvSpPr>
        <p:spPr>
          <a:xfrm>
            <a:off x="4074492" y="1336511"/>
            <a:ext cx="1685880" cy="444312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round/>
          </a:ln>
          <a:effectLst>
            <a:outerShdw blurRad="40000" dist="20160" dir="5400000" rotWithShape="0">
              <a:srgbClr val="000000">
                <a:alpha val="38000"/>
              </a:srgb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/>
        </p:style>
      </p:sp>
      <p:sp>
        <p:nvSpPr>
          <p:cNvPr id="7" name="CustomShape 3">
            <a:extLst>
              <a:ext uri="{FF2B5EF4-FFF2-40B4-BE49-F238E27FC236}">
                <a16:creationId xmlns:a16="http://schemas.microsoft.com/office/drawing/2014/main" id="{6C898869-7AEA-5347-7144-C01C294A80AA}"/>
              </a:ext>
            </a:extLst>
          </p:cNvPr>
          <p:cNvSpPr/>
          <p:nvPr/>
        </p:nvSpPr>
        <p:spPr>
          <a:xfrm>
            <a:off x="1350552" y="2201213"/>
            <a:ext cx="290520" cy="290520"/>
          </a:xfrm>
          <a:prstGeom prst="ellipse">
            <a:avLst/>
          </a:prstGeom>
          <a:ln>
            <a:rou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/>
        </p:style>
      </p:sp>
      <p:sp>
        <p:nvSpPr>
          <p:cNvPr id="8" name="CustomShape 4">
            <a:extLst>
              <a:ext uri="{FF2B5EF4-FFF2-40B4-BE49-F238E27FC236}">
                <a16:creationId xmlns:a16="http://schemas.microsoft.com/office/drawing/2014/main" id="{BF35E3A3-3457-E5C1-078C-8F37CCB55C2A}"/>
              </a:ext>
            </a:extLst>
          </p:cNvPr>
          <p:cNvSpPr/>
          <p:nvPr/>
        </p:nvSpPr>
        <p:spPr>
          <a:xfrm>
            <a:off x="1350552" y="3127853"/>
            <a:ext cx="290520" cy="290520"/>
          </a:xfrm>
          <a:prstGeom prst="ellipse">
            <a:avLst/>
          </a:prstGeom>
          <a:ln>
            <a:rou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/>
        </p:style>
      </p:sp>
      <p:sp>
        <p:nvSpPr>
          <p:cNvPr id="9" name="CustomShape 5">
            <a:extLst>
              <a:ext uri="{FF2B5EF4-FFF2-40B4-BE49-F238E27FC236}">
                <a16:creationId xmlns:a16="http://schemas.microsoft.com/office/drawing/2014/main" id="{655E61A8-ADF9-4FEE-45DB-DCE9B7079307}"/>
              </a:ext>
            </a:extLst>
          </p:cNvPr>
          <p:cNvSpPr/>
          <p:nvPr/>
        </p:nvSpPr>
        <p:spPr>
          <a:xfrm>
            <a:off x="1350552" y="4187333"/>
            <a:ext cx="290520" cy="290520"/>
          </a:xfrm>
          <a:prstGeom prst="ellipse">
            <a:avLst/>
          </a:prstGeom>
          <a:ln>
            <a:rou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/>
        </p:style>
      </p:sp>
      <p:sp>
        <p:nvSpPr>
          <p:cNvPr id="10" name="CustomShape 6">
            <a:extLst>
              <a:ext uri="{FF2B5EF4-FFF2-40B4-BE49-F238E27FC236}">
                <a16:creationId xmlns:a16="http://schemas.microsoft.com/office/drawing/2014/main" id="{6C8231A0-9DD8-4BBB-4D0E-3152DCD65D18}"/>
              </a:ext>
            </a:extLst>
          </p:cNvPr>
          <p:cNvSpPr/>
          <p:nvPr/>
        </p:nvSpPr>
        <p:spPr>
          <a:xfrm>
            <a:off x="4748592" y="1714493"/>
            <a:ext cx="290520" cy="290520"/>
          </a:xfrm>
          <a:prstGeom prst="ellipse">
            <a:avLst/>
          </a:prstGeom>
          <a:ln>
            <a:rou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/>
        </p:style>
      </p:sp>
      <p:sp>
        <p:nvSpPr>
          <p:cNvPr id="11" name="CustomShape 7">
            <a:extLst>
              <a:ext uri="{FF2B5EF4-FFF2-40B4-BE49-F238E27FC236}">
                <a16:creationId xmlns:a16="http://schemas.microsoft.com/office/drawing/2014/main" id="{AE137139-5EC9-DB8A-E204-68024E6056BB}"/>
              </a:ext>
            </a:extLst>
          </p:cNvPr>
          <p:cNvSpPr/>
          <p:nvPr/>
        </p:nvSpPr>
        <p:spPr>
          <a:xfrm>
            <a:off x="4748592" y="4244573"/>
            <a:ext cx="290520" cy="290520"/>
          </a:xfrm>
          <a:prstGeom prst="ellipse">
            <a:avLst/>
          </a:prstGeom>
          <a:ln>
            <a:rou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/>
        </p:style>
      </p:sp>
      <p:sp>
        <p:nvSpPr>
          <p:cNvPr id="12" name="CustomShape 8">
            <a:extLst>
              <a:ext uri="{FF2B5EF4-FFF2-40B4-BE49-F238E27FC236}">
                <a16:creationId xmlns:a16="http://schemas.microsoft.com/office/drawing/2014/main" id="{3330E251-530B-EAE8-07F3-22151B74D73A}"/>
              </a:ext>
            </a:extLst>
          </p:cNvPr>
          <p:cNvSpPr/>
          <p:nvPr/>
        </p:nvSpPr>
        <p:spPr>
          <a:xfrm>
            <a:off x="8098032" y="2258453"/>
            <a:ext cx="290520" cy="290520"/>
          </a:xfrm>
          <a:prstGeom prst="ellipse">
            <a:avLst/>
          </a:prstGeom>
          <a:ln>
            <a:rou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/>
        </p:style>
      </p:sp>
      <p:sp>
        <p:nvSpPr>
          <p:cNvPr id="13" name="CustomShape 9">
            <a:extLst>
              <a:ext uri="{FF2B5EF4-FFF2-40B4-BE49-F238E27FC236}">
                <a16:creationId xmlns:a16="http://schemas.microsoft.com/office/drawing/2014/main" id="{A9994BAC-5867-271E-75BD-C3F83D5FC883}"/>
              </a:ext>
            </a:extLst>
          </p:cNvPr>
          <p:cNvSpPr/>
          <p:nvPr/>
        </p:nvSpPr>
        <p:spPr>
          <a:xfrm>
            <a:off x="8098032" y="3397493"/>
            <a:ext cx="290520" cy="290520"/>
          </a:xfrm>
          <a:prstGeom prst="ellipse">
            <a:avLst/>
          </a:prstGeom>
          <a:ln>
            <a:rou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/>
        </p:style>
      </p:sp>
      <p:sp>
        <p:nvSpPr>
          <p:cNvPr id="14" name="CustomShape 10">
            <a:extLst>
              <a:ext uri="{FF2B5EF4-FFF2-40B4-BE49-F238E27FC236}">
                <a16:creationId xmlns:a16="http://schemas.microsoft.com/office/drawing/2014/main" id="{D8CEAA9F-FEF5-6D00-97B6-3BD3D3680803}"/>
              </a:ext>
            </a:extLst>
          </p:cNvPr>
          <p:cNvSpPr/>
          <p:nvPr/>
        </p:nvSpPr>
        <p:spPr>
          <a:xfrm>
            <a:off x="8098032" y="4647413"/>
            <a:ext cx="290520" cy="290520"/>
          </a:xfrm>
          <a:prstGeom prst="ellipse">
            <a:avLst/>
          </a:prstGeom>
          <a:ln>
            <a:rou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/>
        </p:style>
      </p:sp>
      <p:sp>
        <p:nvSpPr>
          <p:cNvPr id="15" name="CustomShape 11">
            <a:extLst>
              <a:ext uri="{FF2B5EF4-FFF2-40B4-BE49-F238E27FC236}">
                <a16:creationId xmlns:a16="http://schemas.microsoft.com/office/drawing/2014/main" id="{8076D651-0218-7570-79F6-AB803894AA57}"/>
              </a:ext>
            </a:extLst>
          </p:cNvPr>
          <p:cNvSpPr/>
          <p:nvPr/>
        </p:nvSpPr>
        <p:spPr>
          <a:xfrm>
            <a:off x="4748592" y="2730413"/>
            <a:ext cx="290520" cy="290520"/>
          </a:xfrm>
          <a:prstGeom prst="ellipse">
            <a:avLst/>
          </a:prstGeom>
          <a:ln>
            <a:rou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/>
        </p:style>
      </p:sp>
      <p:sp>
        <p:nvSpPr>
          <p:cNvPr id="20" name="CustomShape 12">
            <a:extLst>
              <a:ext uri="{FF2B5EF4-FFF2-40B4-BE49-F238E27FC236}">
                <a16:creationId xmlns:a16="http://schemas.microsoft.com/office/drawing/2014/main" id="{83512ED2-14F6-7446-AD7B-BFC721AD71C8}"/>
              </a:ext>
            </a:extLst>
          </p:cNvPr>
          <p:cNvSpPr/>
          <p:nvPr/>
        </p:nvSpPr>
        <p:spPr>
          <a:xfrm rot="5400000">
            <a:off x="1274232" y="2657333"/>
            <a:ext cx="527400" cy="36396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1800" b="1" strike="noStrike" spc="-1">
                <a:solidFill>
                  <a:srgbClr val="AB3348"/>
                </a:solidFill>
                <a:latin typeface="Times New Roman"/>
                <a:ea typeface="DejaVu Sans"/>
              </a:rPr>
              <a:t>. . . </a:t>
            </a:r>
            <a:endParaRPr lang="en-US" sz="1800" b="0" strike="noStrike" spc="-1">
              <a:latin typeface="Arial"/>
            </a:endParaRPr>
          </a:p>
        </p:txBody>
      </p:sp>
      <p:sp>
        <p:nvSpPr>
          <p:cNvPr id="21" name="CustomShape 13">
            <a:extLst>
              <a:ext uri="{FF2B5EF4-FFF2-40B4-BE49-F238E27FC236}">
                <a16:creationId xmlns:a16="http://schemas.microsoft.com/office/drawing/2014/main" id="{8FF43A9E-C6A8-343B-1021-C93686743870}"/>
              </a:ext>
            </a:extLst>
          </p:cNvPr>
          <p:cNvSpPr/>
          <p:nvPr/>
        </p:nvSpPr>
        <p:spPr>
          <a:xfrm rot="5400000">
            <a:off x="1274232" y="3650933"/>
            <a:ext cx="527400" cy="36396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1800" b="1" strike="noStrike" spc="-1">
                <a:solidFill>
                  <a:srgbClr val="AB3348"/>
                </a:solidFill>
                <a:latin typeface="Times New Roman"/>
                <a:ea typeface="DejaVu Sans"/>
              </a:rPr>
              <a:t>. . . </a:t>
            </a:r>
            <a:endParaRPr lang="en-US" sz="1800" b="0" strike="noStrike" spc="-1">
              <a:latin typeface="Arial"/>
            </a:endParaRPr>
          </a:p>
        </p:txBody>
      </p:sp>
      <p:sp>
        <p:nvSpPr>
          <p:cNvPr id="22" name="CustomShape 14">
            <a:extLst>
              <a:ext uri="{FF2B5EF4-FFF2-40B4-BE49-F238E27FC236}">
                <a16:creationId xmlns:a16="http://schemas.microsoft.com/office/drawing/2014/main" id="{3BFC681B-C98B-194C-D668-DC2E763BAB94}"/>
              </a:ext>
            </a:extLst>
          </p:cNvPr>
          <p:cNvSpPr/>
          <p:nvPr/>
        </p:nvSpPr>
        <p:spPr>
          <a:xfrm rot="5400000">
            <a:off x="4684152" y="2226053"/>
            <a:ext cx="527400" cy="36396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1800" b="1" strike="noStrike" spc="-1">
                <a:solidFill>
                  <a:srgbClr val="AB3348"/>
                </a:solidFill>
                <a:latin typeface="Times New Roman"/>
                <a:ea typeface="DejaVu Sans"/>
              </a:rPr>
              <a:t>. . . </a:t>
            </a:r>
            <a:endParaRPr lang="en-US" sz="1800" b="0" strike="noStrike" spc="-1">
              <a:latin typeface="Arial"/>
            </a:endParaRPr>
          </a:p>
        </p:txBody>
      </p:sp>
      <p:sp>
        <p:nvSpPr>
          <p:cNvPr id="23" name="CustomShape 15">
            <a:extLst>
              <a:ext uri="{FF2B5EF4-FFF2-40B4-BE49-F238E27FC236}">
                <a16:creationId xmlns:a16="http://schemas.microsoft.com/office/drawing/2014/main" id="{2E507073-7A00-5329-A383-E996F19A9EFD}"/>
              </a:ext>
            </a:extLst>
          </p:cNvPr>
          <p:cNvSpPr/>
          <p:nvPr/>
        </p:nvSpPr>
        <p:spPr>
          <a:xfrm rot="5400000">
            <a:off x="4684152" y="3514133"/>
            <a:ext cx="527400" cy="36396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1800" b="1" strike="noStrike" spc="-1">
                <a:solidFill>
                  <a:srgbClr val="AB3348"/>
                </a:solidFill>
                <a:latin typeface="Times New Roman"/>
                <a:ea typeface="DejaVu Sans"/>
              </a:rPr>
              <a:t>. . . </a:t>
            </a:r>
            <a:endParaRPr lang="en-US" sz="1800" b="0" strike="noStrike" spc="-1">
              <a:latin typeface="Arial"/>
            </a:endParaRPr>
          </a:p>
        </p:txBody>
      </p:sp>
      <p:sp>
        <p:nvSpPr>
          <p:cNvPr id="24" name="CustomShape 16">
            <a:extLst>
              <a:ext uri="{FF2B5EF4-FFF2-40B4-BE49-F238E27FC236}">
                <a16:creationId xmlns:a16="http://schemas.microsoft.com/office/drawing/2014/main" id="{659DBCEB-1E24-8F46-2F42-C684D9FD2BE8}"/>
              </a:ext>
            </a:extLst>
          </p:cNvPr>
          <p:cNvSpPr/>
          <p:nvPr/>
        </p:nvSpPr>
        <p:spPr>
          <a:xfrm rot="5400000">
            <a:off x="8023152" y="2730053"/>
            <a:ext cx="527400" cy="36396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1800" b="1" strike="noStrike" spc="-1">
                <a:solidFill>
                  <a:srgbClr val="AB3348"/>
                </a:solidFill>
                <a:latin typeface="Times New Roman"/>
                <a:ea typeface="DejaVu Sans"/>
              </a:rPr>
              <a:t>. . . </a:t>
            </a:r>
            <a:endParaRPr lang="en-US" sz="1800" b="0" strike="noStrike" spc="-1">
              <a:latin typeface="Arial"/>
            </a:endParaRPr>
          </a:p>
        </p:txBody>
      </p:sp>
      <p:sp>
        <p:nvSpPr>
          <p:cNvPr id="25" name="CustomShape 17">
            <a:extLst>
              <a:ext uri="{FF2B5EF4-FFF2-40B4-BE49-F238E27FC236}">
                <a16:creationId xmlns:a16="http://schemas.microsoft.com/office/drawing/2014/main" id="{63CF88D6-F614-564F-22FA-E9861CA8E892}"/>
              </a:ext>
            </a:extLst>
          </p:cNvPr>
          <p:cNvSpPr/>
          <p:nvPr/>
        </p:nvSpPr>
        <p:spPr>
          <a:xfrm rot="5400000">
            <a:off x="8023152" y="3941093"/>
            <a:ext cx="527400" cy="36396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1800" b="1" strike="noStrike" spc="-1">
                <a:solidFill>
                  <a:srgbClr val="AB3348"/>
                </a:solidFill>
                <a:latin typeface="Times New Roman"/>
                <a:ea typeface="DejaVu Sans"/>
              </a:rPr>
              <a:t>. . . </a:t>
            </a:r>
            <a:endParaRPr lang="en-US" sz="1800" b="0" strike="noStrike" spc="-1">
              <a:latin typeface="Arial"/>
            </a:endParaRPr>
          </a:p>
        </p:txBody>
      </p:sp>
      <p:sp>
        <p:nvSpPr>
          <p:cNvPr id="26" name="CustomShape 18">
            <a:extLst>
              <a:ext uri="{FF2B5EF4-FFF2-40B4-BE49-F238E27FC236}">
                <a16:creationId xmlns:a16="http://schemas.microsoft.com/office/drawing/2014/main" id="{D9342C15-439D-FB77-5958-626C2415BDC5}"/>
              </a:ext>
            </a:extLst>
          </p:cNvPr>
          <p:cNvSpPr/>
          <p:nvPr/>
        </p:nvSpPr>
        <p:spPr>
          <a:xfrm>
            <a:off x="1350552" y="4917413"/>
            <a:ext cx="290520" cy="290520"/>
          </a:xfrm>
          <a:prstGeom prst="ellipse">
            <a:avLst/>
          </a:prstGeom>
          <a:solidFill>
            <a:srgbClr val="AB3348"/>
          </a:solidFill>
          <a:ln>
            <a:rou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/>
        </p:style>
      </p:sp>
      <p:sp>
        <p:nvSpPr>
          <p:cNvPr id="27" name="CustomShape 19">
            <a:extLst>
              <a:ext uri="{FF2B5EF4-FFF2-40B4-BE49-F238E27FC236}">
                <a16:creationId xmlns:a16="http://schemas.microsoft.com/office/drawing/2014/main" id="{BC22B9F9-58E6-4A98-B3E8-69E7124ACBD5}"/>
              </a:ext>
            </a:extLst>
          </p:cNvPr>
          <p:cNvSpPr/>
          <p:nvPr/>
        </p:nvSpPr>
        <p:spPr>
          <a:xfrm>
            <a:off x="4748592" y="4974653"/>
            <a:ext cx="290520" cy="290520"/>
          </a:xfrm>
          <a:prstGeom prst="ellipse">
            <a:avLst/>
          </a:prstGeom>
          <a:solidFill>
            <a:srgbClr val="AB3348"/>
          </a:solidFill>
          <a:ln>
            <a:rou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/>
        </p:style>
      </p:sp>
      <p:pic>
        <p:nvPicPr>
          <p:cNvPr id="28" name="Picture 5">
            <a:extLst>
              <a:ext uri="{FF2B5EF4-FFF2-40B4-BE49-F238E27FC236}">
                <a16:creationId xmlns:a16="http://schemas.microsoft.com/office/drawing/2014/main" id="{8BE1B6A2-67D5-6FB2-4516-C4E291778048}"/>
              </a:ext>
            </a:extLst>
          </p:cNvPr>
          <p:cNvPicPr/>
          <p:nvPr/>
        </p:nvPicPr>
        <p:blipFill>
          <a:blip r:embed="rId4"/>
          <a:stretch/>
        </p:blipFill>
        <p:spPr>
          <a:xfrm>
            <a:off x="953832" y="5053133"/>
            <a:ext cx="276120" cy="199080"/>
          </a:xfrm>
          <a:prstGeom prst="rect">
            <a:avLst/>
          </a:prstGeom>
          <a:ln>
            <a:noFill/>
          </a:ln>
        </p:spPr>
      </p:pic>
      <p:pic>
        <p:nvPicPr>
          <p:cNvPr id="29" name="Picture 7">
            <a:extLst>
              <a:ext uri="{FF2B5EF4-FFF2-40B4-BE49-F238E27FC236}">
                <a16:creationId xmlns:a16="http://schemas.microsoft.com/office/drawing/2014/main" id="{BB253A6F-E529-A953-4B1B-6048EFC2514F}"/>
              </a:ext>
            </a:extLst>
          </p:cNvPr>
          <p:cNvPicPr/>
          <p:nvPr/>
        </p:nvPicPr>
        <p:blipFill>
          <a:blip r:embed="rId5"/>
          <a:stretch/>
        </p:blipFill>
        <p:spPr>
          <a:xfrm>
            <a:off x="953832" y="4234493"/>
            <a:ext cx="270360" cy="196200"/>
          </a:xfrm>
          <a:prstGeom prst="rect">
            <a:avLst/>
          </a:prstGeom>
          <a:ln>
            <a:noFill/>
          </a:ln>
        </p:spPr>
      </p:pic>
      <p:pic>
        <p:nvPicPr>
          <p:cNvPr id="30" name="Picture 9">
            <a:extLst>
              <a:ext uri="{FF2B5EF4-FFF2-40B4-BE49-F238E27FC236}">
                <a16:creationId xmlns:a16="http://schemas.microsoft.com/office/drawing/2014/main" id="{DFCE49E6-8C80-74F7-1930-30B85C82AC74}"/>
              </a:ext>
            </a:extLst>
          </p:cNvPr>
          <p:cNvPicPr/>
          <p:nvPr/>
        </p:nvPicPr>
        <p:blipFill>
          <a:blip r:embed="rId6"/>
          <a:stretch/>
        </p:blipFill>
        <p:spPr>
          <a:xfrm>
            <a:off x="953832" y="3175733"/>
            <a:ext cx="250560" cy="199080"/>
          </a:xfrm>
          <a:prstGeom prst="rect">
            <a:avLst/>
          </a:prstGeom>
          <a:ln>
            <a:noFill/>
          </a:ln>
        </p:spPr>
      </p:pic>
      <p:pic>
        <p:nvPicPr>
          <p:cNvPr id="31" name="Picture 35">
            <a:extLst>
              <a:ext uri="{FF2B5EF4-FFF2-40B4-BE49-F238E27FC236}">
                <a16:creationId xmlns:a16="http://schemas.microsoft.com/office/drawing/2014/main" id="{E2E0D386-635D-83B0-FE55-3F94A2D8CFD2}"/>
              </a:ext>
            </a:extLst>
          </p:cNvPr>
          <p:cNvPicPr/>
          <p:nvPr/>
        </p:nvPicPr>
        <p:blipFill>
          <a:blip r:embed="rId7"/>
          <a:stretch/>
        </p:blipFill>
        <p:spPr>
          <a:xfrm>
            <a:off x="953832" y="2241173"/>
            <a:ext cx="284760" cy="227520"/>
          </a:xfrm>
          <a:prstGeom prst="rect">
            <a:avLst/>
          </a:prstGeom>
          <a:ln>
            <a:noFill/>
          </a:ln>
        </p:spPr>
      </p:pic>
      <p:sp>
        <p:nvSpPr>
          <p:cNvPr id="32" name="Line 20">
            <a:extLst>
              <a:ext uri="{FF2B5EF4-FFF2-40B4-BE49-F238E27FC236}">
                <a16:creationId xmlns:a16="http://schemas.microsoft.com/office/drawing/2014/main" id="{3672BBFE-DD98-8618-9A3B-9E5A0DF8BB1E}"/>
              </a:ext>
            </a:extLst>
          </p:cNvPr>
          <p:cNvSpPr/>
          <p:nvPr/>
        </p:nvSpPr>
        <p:spPr>
          <a:xfrm flipV="1">
            <a:off x="1642152" y="1860293"/>
            <a:ext cx="3106440" cy="486720"/>
          </a:xfrm>
          <a:prstGeom prst="line">
            <a:avLst/>
          </a:prstGeom>
          <a:ln>
            <a:solidFill>
              <a:srgbClr val="BA0033"/>
            </a:solidFill>
            <a:round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/>
        </p:style>
      </p:sp>
      <p:sp>
        <p:nvSpPr>
          <p:cNvPr id="33" name="Line 21">
            <a:extLst>
              <a:ext uri="{FF2B5EF4-FFF2-40B4-BE49-F238E27FC236}">
                <a16:creationId xmlns:a16="http://schemas.microsoft.com/office/drawing/2014/main" id="{A972BA42-B67F-6A9D-CBD3-C0633DE4545A}"/>
              </a:ext>
            </a:extLst>
          </p:cNvPr>
          <p:cNvSpPr/>
          <p:nvPr/>
        </p:nvSpPr>
        <p:spPr>
          <a:xfrm>
            <a:off x="1642152" y="2347013"/>
            <a:ext cx="3106440" cy="529200"/>
          </a:xfrm>
          <a:prstGeom prst="line">
            <a:avLst/>
          </a:prstGeom>
          <a:ln>
            <a:solidFill>
              <a:srgbClr val="BA0033"/>
            </a:solidFill>
            <a:round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/>
        </p:style>
      </p:sp>
      <p:sp>
        <p:nvSpPr>
          <p:cNvPr id="34" name="Line 22">
            <a:extLst>
              <a:ext uri="{FF2B5EF4-FFF2-40B4-BE49-F238E27FC236}">
                <a16:creationId xmlns:a16="http://schemas.microsoft.com/office/drawing/2014/main" id="{F1566544-677C-A35C-F9C5-F8F14989667F}"/>
              </a:ext>
            </a:extLst>
          </p:cNvPr>
          <p:cNvSpPr/>
          <p:nvPr/>
        </p:nvSpPr>
        <p:spPr>
          <a:xfrm>
            <a:off x="1642152" y="2347013"/>
            <a:ext cx="3106440" cy="2043000"/>
          </a:xfrm>
          <a:prstGeom prst="line">
            <a:avLst/>
          </a:prstGeom>
          <a:ln>
            <a:solidFill>
              <a:srgbClr val="BA0033"/>
            </a:solidFill>
            <a:round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/>
        </p:style>
      </p:sp>
      <p:sp>
        <p:nvSpPr>
          <p:cNvPr id="35" name="Line 23">
            <a:extLst>
              <a:ext uri="{FF2B5EF4-FFF2-40B4-BE49-F238E27FC236}">
                <a16:creationId xmlns:a16="http://schemas.microsoft.com/office/drawing/2014/main" id="{451CBBFA-CCBC-63D4-EE6D-81C5F99A799A}"/>
              </a:ext>
            </a:extLst>
          </p:cNvPr>
          <p:cNvSpPr/>
          <p:nvPr/>
        </p:nvSpPr>
        <p:spPr>
          <a:xfrm flipV="1">
            <a:off x="1642152" y="1860293"/>
            <a:ext cx="3106440" cy="1413000"/>
          </a:xfrm>
          <a:prstGeom prst="line">
            <a:avLst/>
          </a:prstGeom>
          <a:ln>
            <a:solidFill>
              <a:srgbClr val="BA0033"/>
            </a:solidFill>
            <a:round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/>
        </p:style>
      </p:sp>
      <p:sp>
        <p:nvSpPr>
          <p:cNvPr id="36" name="Line 24">
            <a:extLst>
              <a:ext uri="{FF2B5EF4-FFF2-40B4-BE49-F238E27FC236}">
                <a16:creationId xmlns:a16="http://schemas.microsoft.com/office/drawing/2014/main" id="{F0D7FD60-0D4E-010C-3A06-C3A84C504DB2}"/>
              </a:ext>
            </a:extLst>
          </p:cNvPr>
          <p:cNvSpPr/>
          <p:nvPr/>
        </p:nvSpPr>
        <p:spPr>
          <a:xfrm flipV="1">
            <a:off x="1642152" y="2876213"/>
            <a:ext cx="3106440" cy="397080"/>
          </a:xfrm>
          <a:prstGeom prst="line">
            <a:avLst/>
          </a:prstGeom>
          <a:ln w="38160">
            <a:solidFill>
              <a:srgbClr val="BA0033"/>
            </a:solidFill>
            <a:round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/>
        </p:style>
      </p:sp>
      <p:sp>
        <p:nvSpPr>
          <p:cNvPr id="37" name="Line 25">
            <a:extLst>
              <a:ext uri="{FF2B5EF4-FFF2-40B4-BE49-F238E27FC236}">
                <a16:creationId xmlns:a16="http://schemas.microsoft.com/office/drawing/2014/main" id="{9E46FF45-1388-0D9D-BDAA-5058385A1AE2}"/>
              </a:ext>
            </a:extLst>
          </p:cNvPr>
          <p:cNvSpPr/>
          <p:nvPr/>
        </p:nvSpPr>
        <p:spPr>
          <a:xfrm>
            <a:off x="1642152" y="3273293"/>
            <a:ext cx="3106440" cy="1116720"/>
          </a:xfrm>
          <a:prstGeom prst="line">
            <a:avLst/>
          </a:prstGeom>
          <a:ln>
            <a:solidFill>
              <a:srgbClr val="BA0033"/>
            </a:solidFill>
            <a:round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/>
        </p:style>
      </p:sp>
      <p:sp>
        <p:nvSpPr>
          <p:cNvPr id="38" name="Line 26">
            <a:extLst>
              <a:ext uri="{FF2B5EF4-FFF2-40B4-BE49-F238E27FC236}">
                <a16:creationId xmlns:a16="http://schemas.microsoft.com/office/drawing/2014/main" id="{DEBF323B-EE2D-4FC9-A3B7-2F7906DF8592}"/>
              </a:ext>
            </a:extLst>
          </p:cNvPr>
          <p:cNvSpPr/>
          <p:nvPr/>
        </p:nvSpPr>
        <p:spPr>
          <a:xfrm>
            <a:off x="1642152" y="4332773"/>
            <a:ext cx="3106440" cy="57240"/>
          </a:xfrm>
          <a:prstGeom prst="line">
            <a:avLst/>
          </a:prstGeom>
          <a:ln>
            <a:solidFill>
              <a:srgbClr val="BA0033"/>
            </a:solidFill>
            <a:round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/>
        </p:style>
      </p:sp>
      <p:sp>
        <p:nvSpPr>
          <p:cNvPr id="39" name="Line 27">
            <a:extLst>
              <a:ext uri="{FF2B5EF4-FFF2-40B4-BE49-F238E27FC236}">
                <a16:creationId xmlns:a16="http://schemas.microsoft.com/office/drawing/2014/main" id="{CA268032-43B7-9973-ADE4-7B6974E1A6D4}"/>
              </a:ext>
            </a:extLst>
          </p:cNvPr>
          <p:cNvSpPr/>
          <p:nvPr/>
        </p:nvSpPr>
        <p:spPr>
          <a:xfrm flipV="1">
            <a:off x="1642152" y="2876213"/>
            <a:ext cx="3106440" cy="1456560"/>
          </a:xfrm>
          <a:prstGeom prst="line">
            <a:avLst/>
          </a:prstGeom>
          <a:ln>
            <a:solidFill>
              <a:srgbClr val="BA0033"/>
            </a:solidFill>
            <a:round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/>
        </p:style>
      </p:sp>
      <p:sp>
        <p:nvSpPr>
          <p:cNvPr id="40" name="Line 28">
            <a:extLst>
              <a:ext uri="{FF2B5EF4-FFF2-40B4-BE49-F238E27FC236}">
                <a16:creationId xmlns:a16="http://schemas.microsoft.com/office/drawing/2014/main" id="{08560206-39D8-49FA-E35A-BC1691C3C895}"/>
              </a:ext>
            </a:extLst>
          </p:cNvPr>
          <p:cNvSpPr/>
          <p:nvPr/>
        </p:nvSpPr>
        <p:spPr>
          <a:xfrm flipV="1">
            <a:off x="1642152" y="1860293"/>
            <a:ext cx="3106440" cy="2472480"/>
          </a:xfrm>
          <a:prstGeom prst="line">
            <a:avLst/>
          </a:prstGeom>
          <a:ln>
            <a:solidFill>
              <a:srgbClr val="BA0033"/>
            </a:solidFill>
            <a:round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/>
        </p:style>
      </p:sp>
      <p:sp>
        <p:nvSpPr>
          <p:cNvPr id="41" name="Line 29">
            <a:extLst>
              <a:ext uri="{FF2B5EF4-FFF2-40B4-BE49-F238E27FC236}">
                <a16:creationId xmlns:a16="http://schemas.microsoft.com/office/drawing/2014/main" id="{8F263920-A487-C8E4-E802-B58DE86C3F30}"/>
              </a:ext>
            </a:extLst>
          </p:cNvPr>
          <p:cNvSpPr/>
          <p:nvPr/>
        </p:nvSpPr>
        <p:spPr>
          <a:xfrm>
            <a:off x="5040192" y="1860293"/>
            <a:ext cx="3057480" cy="543960"/>
          </a:xfrm>
          <a:prstGeom prst="line">
            <a:avLst/>
          </a:prstGeom>
          <a:ln>
            <a:solidFill>
              <a:srgbClr val="BA0033"/>
            </a:solidFill>
            <a:round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/>
        </p:style>
      </p:sp>
      <p:sp>
        <p:nvSpPr>
          <p:cNvPr id="42" name="Line 30">
            <a:extLst>
              <a:ext uri="{FF2B5EF4-FFF2-40B4-BE49-F238E27FC236}">
                <a16:creationId xmlns:a16="http://schemas.microsoft.com/office/drawing/2014/main" id="{80F215CC-1B9A-B818-1A5A-B3A520A35CAE}"/>
              </a:ext>
            </a:extLst>
          </p:cNvPr>
          <p:cNvSpPr/>
          <p:nvPr/>
        </p:nvSpPr>
        <p:spPr>
          <a:xfrm flipV="1">
            <a:off x="5040192" y="2404253"/>
            <a:ext cx="3057480" cy="471960"/>
          </a:xfrm>
          <a:prstGeom prst="line">
            <a:avLst/>
          </a:prstGeom>
          <a:ln>
            <a:solidFill>
              <a:srgbClr val="BA0033"/>
            </a:solidFill>
            <a:round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/>
        </p:style>
      </p:sp>
      <p:sp>
        <p:nvSpPr>
          <p:cNvPr id="43" name="Line 31">
            <a:extLst>
              <a:ext uri="{FF2B5EF4-FFF2-40B4-BE49-F238E27FC236}">
                <a16:creationId xmlns:a16="http://schemas.microsoft.com/office/drawing/2014/main" id="{C350058F-DB58-88F2-FC7D-0C82E80D2C90}"/>
              </a:ext>
            </a:extLst>
          </p:cNvPr>
          <p:cNvSpPr/>
          <p:nvPr/>
        </p:nvSpPr>
        <p:spPr>
          <a:xfrm>
            <a:off x="5040192" y="2876213"/>
            <a:ext cx="3057480" cy="666720"/>
          </a:xfrm>
          <a:prstGeom prst="line">
            <a:avLst/>
          </a:prstGeom>
          <a:ln w="38160">
            <a:solidFill>
              <a:srgbClr val="BA0033"/>
            </a:solidFill>
            <a:round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/>
        </p:style>
      </p:sp>
      <p:sp>
        <p:nvSpPr>
          <p:cNvPr id="44" name="Line 32">
            <a:extLst>
              <a:ext uri="{FF2B5EF4-FFF2-40B4-BE49-F238E27FC236}">
                <a16:creationId xmlns:a16="http://schemas.microsoft.com/office/drawing/2014/main" id="{A1D56E9D-402B-BACC-E789-E05BFABB6BC1}"/>
              </a:ext>
            </a:extLst>
          </p:cNvPr>
          <p:cNvSpPr/>
          <p:nvPr/>
        </p:nvSpPr>
        <p:spPr>
          <a:xfrm>
            <a:off x="5040192" y="2876213"/>
            <a:ext cx="3057480" cy="1917000"/>
          </a:xfrm>
          <a:prstGeom prst="line">
            <a:avLst/>
          </a:prstGeom>
          <a:ln>
            <a:solidFill>
              <a:srgbClr val="BA0033"/>
            </a:solidFill>
            <a:round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/>
        </p:style>
      </p:sp>
      <p:sp>
        <p:nvSpPr>
          <p:cNvPr id="45" name="Line 33">
            <a:extLst>
              <a:ext uri="{FF2B5EF4-FFF2-40B4-BE49-F238E27FC236}">
                <a16:creationId xmlns:a16="http://schemas.microsoft.com/office/drawing/2014/main" id="{A4D85675-82DB-E952-EA4D-B4E5BCF24F22}"/>
              </a:ext>
            </a:extLst>
          </p:cNvPr>
          <p:cNvSpPr/>
          <p:nvPr/>
        </p:nvSpPr>
        <p:spPr>
          <a:xfrm>
            <a:off x="5040192" y="4390013"/>
            <a:ext cx="3057480" cy="403200"/>
          </a:xfrm>
          <a:prstGeom prst="line">
            <a:avLst/>
          </a:prstGeom>
          <a:ln>
            <a:solidFill>
              <a:srgbClr val="BA0033"/>
            </a:solidFill>
            <a:round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/>
        </p:style>
      </p:sp>
      <p:sp>
        <p:nvSpPr>
          <p:cNvPr id="46" name="Line 34">
            <a:extLst>
              <a:ext uri="{FF2B5EF4-FFF2-40B4-BE49-F238E27FC236}">
                <a16:creationId xmlns:a16="http://schemas.microsoft.com/office/drawing/2014/main" id="{7737B008-EBA1-24BF-2184-BCEE50218585}"/>
              </a:ext>
            </a:extLst>
          </p:cNvPr>
          <p:cNvSpPr/>
          <p:nvPr/>
        </p:nvSpPr>
        <p:spPr>
          <a:xfrm flipV="1">
            <a:off x="5040192" y="3542933"/>
            <a:ext cx="3057480" cy="847080"/>
          </a:xfrm>
          <a:prstGeom prst="line">
            <a:avLst/>
          </a:prstGeom>
          <a:ln>
            <a:solidFill>
              <a:srgbClr val="BA0033"/>
            </a:solidFill>
            <a:round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/>
        </p:style>
      </p:sp>
      <p:sp>
        <p:nvSpPr>
          <p:cNvPr id="47" name="Line 35">
            <a:extLst>
              <a:ext uri="{FF2B5EF4-FFF2-40B4-BE49-F238E27FC236}">
                <a16:creationId xmlns:a16="http://schemas.microsoft.com/office/drawing/2014/main" id="{2E12D806-398D-D21F-A477-555EDCE8A64E}"/>
              </a:ext>
            </a:extLst>
          </p:cNvPr>
          <p:cNvSpPr/>
          <p:nvPr/>
        </p:nvSpPr>
        <p:spPr>
          <a:xfrm flipV="1">
            <a:off x="5040192" y="2404253"/>
            <a:ext cx="3057480" cy="1985760"/>
          </a:xfrm>
          <a:prstGeom prst="line">
            <a:avLst/>
          </a:prstGeom>
          <a:ln>
            <a:solidFill>
              <a:srgbClr val="BA0033"/>
            </a:solidFill>
            <a:round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/>
        </p:style>
      </p:sp>
      <p:sp>
        <p:nvSpPr>
          <p:cNvPr id="48" name="Line 36">
            <a:extLst>
              <a:ext uri="{FF2B5EF4-FFF2-40B4-BE49-F238E27FC236}">
                <a16:creationId xmlns:a16="http://schemas.microsoft.com/office/drawing/2014/main" id="{FE1F38BC-A025-0906-9A0C-5C3DB7C28E94}"/>
              </a:ext>
            </a:extLst>
          </p:cNvPr>
          <p:cNvSpPr/>
          <p:nvPr/>
        </p:nvSpPr>
        <p:spPr>
          <a:xfrm>
            <a:off x="5040192" y="1860293"/>
            <a:ext cx="3057480" cy="1682640"/>
          </a:xfrm>
          <a:prstGeom prst="line">
            <a:avLst/>
          </a:prstGeom>
          <a:ln>
            <a:solidFill>
              <a:srgbClr val="BA0033"/>
            </a:solidFill>
            <a:round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/>
        </p:style>
      </p:sp>
      <p:sp>
        <p:nvSpPr>
          <p:cNvPr id="49" name="Line 37">
            <a:extLst>
              <a:ext uri="{FF2B5EF4-FFF2-40B4-BE49-F238E27FC236}">
                <a16:creationId xmlns:a16="http://schemas.microsoft.com/office/drawing/2014/main" id="{4DB1A46F-302D-062D-C5CD-9794CEECBBAE}"/>
              </a:ext>
            </a:extLst>
          </p:cNvPr>
          <p:cNvSpPr/>
          <p:nvPr/>
        </p:nvSpPr>
        <p:spPr>
          <a:xfrm>
            <a:off x="5040192" y="1860293"/>
            <a:ext cx="3057480" cy="2932920"/>
          </a:xfrm>
          <a:prstGeom prst="line">
            <a:avLst/>
          </a:prstGeom>
          <a:ln>
            <a:solidFill>
              <a:srgbClr val="BA0033"/>
            </a:solidFill>
            <a:round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/>
        </p:style>
      </p:sp>
      <p:sp>
        <p:nvSpPr>
          <p:cNvPr id="50" name="Line 38">
            <a:extLst>
              <a:ext uri="{FF2B5EF4-FFF2-40B4-BE49-F238E27FC236}">
                <a16:creationId xmlns:a16="http://schemas.microsoft.com/office/drawing/2014/main" id="{D0B1713B-67DA-7BBC-5520-A3DA1207B530}"/>
              </a:ext>
            </a:extLst>
          </p:cNvPr>
          <p:cNvSpPr/>
          <p:nvPr/>
        </p:nvSpPr>
        <p:spPr>
          <a:xfrm flipV="1">
            <a:off x="5040192" y="2404253"/>
            <a:ext cx="3057480" cy="2716200"/>
          </a:xfrm>
          <a:prstGeom prst="line">
            <a:avLst/>
          </a:prstGeom>
          <a:ln>
            <a:solidFill>
              <a:srgbClr val="BA0033"/>
            </a:solidFill>
            <a:round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/>
        </p:style>
      </p:sp>
      <p:sp>
        <p:nvSpPr>
          <p:cNvPr id="51" name="Line 39">
            <a:extLst>
              <a:ext uri="{FF2B5EF4-FFF2-40B4-BE49-F238E27FC236}">
                <a16:creationId xmlns:a16="http://schemas.microsoft.com/office/drawing/2014/main" id="{ED171DAC-1737-8739-73E3-5ABEA13FE4C8}"/>
              </a:ext>
            </a:extLst>
          </p:cNvPr>
          <p:cNvSpPr/>
          <p:nvPr/>
        </p:nvSpPr>
        <p:spPr>
          <a:xfrm flipV="1">
            <a:off x="5040192" y="3542933"/>
            <a:ext cx="3057480" cy="1577520"/>
          </a:xfrm>
          <a:prstGeom prst="line">
            <a:avLst/>
          </a:prstGeom>
          <a:ln>
            <a:solidFill>
              <a:srgbClr val="BA0033"/>
            </a:solidFill>
            <a:round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/>
        </p:style>
      </p:sp>
      <p:sp>
        <p:nvSpPr>
          <p:cNvPr id="52" name="Line 40">
            <a:extLst>
              <a:ext uri="{FF2B5EF4-FFF2-40B4-BE49-F238E27FC236}">
                <a16:creationId xmlns:a16="http://schemas.microsoft.com/office/drawing/2014/main" id="{DD511A1E-8F66-17D9-3615-DCDA809AE378}"/>
              </a:ext>
            </a:extLst>
          </p:cNvPr>
          <p:cNvSpPr/>
          <p:nvPr/>
        </p:nvSpPr>
        <p:spPr>
          <a:xfrm flipV="1">
            <a:off x="5040192" y="4793213"/>
            <a:ext cx="3057480" cy="327240"/>
          </a:xfrm>
          <a:prstGeom prst="line">
            <a:avLst/>
          </a:prstGeom>
          <a:ln>
            <a:solidFill>
              <a:srgbClr val="BA0033"/>
            </a:solidFill>
            <a:round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/>
        </p:style>
      </p:sp>
      <p:sp>
        <p:nvSpPr>
          <p:cNvPr id="53" name="Line 41">
            <a:extLst>
              <a:ext uri="{FF2B5EF4-FFF2-40B4-BE49-F238E27FC236}">
                <a16:creationId xmlns:a16="http://schemas.microsoft.com/office/drawing/2014/main" id="{CC66DC43-F0DD-C91C-FB17-C154FD391673}"/>
              </a:ext>
            </a:extLst>
          </p:cNvPr>
          <p:cNvSpPr/>
          <p:nvPr/>
        </p:nvSpPr>
        <p:spPr>
          <a:xfrm flipV="1">
            <a:off x="1642152" y="1860293"/>
            <a:ext cx="3106440" cy="3202920"/>
          </a:xfrm>
          <a:prstGeom prst="line">
            <a:avLst/>
          </a:prstGeom>
          <a:ln>
            <a:solidFill>
              <a:srgbClr val="BA0033"/>
            </a:solidFill>
            <a:round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/>
        </p:style>
      </p:sp>
      <p:sp>
        <p:nvSpPr>
          <p:cNvPr id="54" name="Line 42">
            <a:extLst>
              <a:ext uri="{FF2B5EF4-FFF2-40B4-BE49-F238E27FC236}">
                <a16:creationId xmlns:a16="http://schemas.microsoft.com/office/drawing/2014/main" id="{018BAD8E-484E-92E8-554E-76F33BA0DE37}"/>
              </a:ext>
            </a:extLst>
          </p:cNvPr>
          <p:cNvSpPr/>
          <p:nvPr/>
        </p:nvSpPr>
        <p:spPr>
          <a:xfrm flipV="1">
            <a:off x="1642152" y="2876213"/>
            <a:ext cx="3106440" cy="2187000"/>
          </a:xfrm>
          <a:prstGeom prst="line">
            <a:avLst/>
          </a:prstGeom>
          <a:ln>
            <a:solidFill>
              <a:srgbClr val="BA0033"/>
            </a:solidFill>
            <a:round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/>
        </p:style>
      </p:sp>
      <p:sp>
        <p:nvSpPr>
          <p:cNvPr id="55" name="Line 43">
            <a:extLst>
              <a:ext uri="{FF2B5EF4-FFF2-40B4-BE49-F238E27FC236}">
                <a16:creationId xmlns:a16="http://schemas.microsoft.com/office/drawing/2014/main" id="{FF5EAE7D-E6EB-D851-98FC-1DCF55A3064F}"/>
              </a:ext>
            </a:extLst>
          </p:cNvPr>
          <p:cNvSpPr/>
          <p:nvPr/>
        </p:nvSpPr>
        <p:spPr>
          <a:xfrm flipV="1">
            <a:off x="1642152" y="4390013"/>
            <a:ext cx="3106440" cy="673200"/>
          </a:xfrm>
          <a:prstGeom prst="line">
            <a:avLst/>
          </a:prstGeom>
          <a:ln>
            <a:solidFill>
              <a:srgbClr val="BA0033"/>
            </a:solidFill>
            <a:round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/>
        </p:style>
      </p:sp>
      <p:pic>
        <p:nvPicPr>
          <p:cNvPr id="60" name="Picture 121">
            <a:extLst>
              <a:ext uri="{FF2B5EF4-FFF2-40B4-BE49-F238E27FC236}">
                <a16:creationId xmlns:a16="http://schemas.microsoft.com/office/drawing/2014/main" id="{5D7CB5D2-6CA0-FC96-97B5-64FAB9AF4070}"/>
              </a:ext>
            </a:extLst>
          </p:cNvPr>
          <p:cNvPicPr/>
          <p:nvPr/>
        </p:nvPicPr>
        <p:blipFill>
          <a:blip r:embed="rId8"/>
          <a:stretch/>
        </p:blipFill>
        <p:spPr>
          <a:xfrm>
            <a:off x="8483232" y="4686293"/>
            <a:ext cx="190440" cy="213120"/>
          </a:xfrm>
          <a:prstGeom prst="rect">
            <a:avLst/>
          </a:prstGeom>
          <a:ln>
            <a:noFill/>
          </a:ln>
        </p:spPr>
      </p:pic>
      <p:pic>
        <p:nvPicPr>
          <p:cNvPr id="61" name="Picture 123">
            <a:extLst>
              <a:ext uri="{FF2B5EF4-FFF2-40B4-BE49-F238E27FC236}">
                <a16:creationId xmlns:a16="http://schemas.microsoft.com/office/drawing/2014/main" id="{E29CDA29-5764-C23D-5D0D-10B2F9F55509}"/>
              </a:ext>
            </a:extLst>
          </p:cNvPr>
          <p:cNvPicPr/>
          <p:nvPr/>
        </p:nvPicPr>
        <p:blipFill>
          <a:blip r:embed="rId9"/>
          <a:stretch/>
        </p:blipFill>
        <p:spPr>
          <a:xfrm>
            <a:off x="8468832" y="3453293"/>
            <a:ext cx="204840" cy="213120"/>
          </a:xfrm>
          <a:prstGeom prst="rect">
            <a:avLst/>
          </a:prstGeom>
          <a:ln>
            <a:noFill/>
          </a:ln>
        </p:spPr>
      </p:pic>
      <p:pic>
        <p:nvPicPr>
          <p:cNvPr id="62" name="Picture 125">
            <a:extLst>
              <a:ext uri="{FF2B5EF4-FFF2-40B4-BE49-F238E27FC236}">
                <a16:creationId xmlns:a16="http://schemas.microsoft.com/office/drawing/2014/main" id="{F7C1DC3C-2738-3F3B-00C7-70C7111BA94B}"/>
              </a:ext>
            </a:extLst>
          </p:cNvPr>
          <p:cNvPicPr/>
          <p:nvPr/>
        </p:nvPicPr>
        <p:blipFill>
          <a:blip r:embed="rId10"/>
          <a:stretch/>
        </p:blipFill>
        <p:spPr>
          <a:xfrm>
            <a:off x="8466312" y="2278613"/>
            <a:ext cx="273240" cy="213120"/>
          </a:xfrm>
          <a:prstGeom prst="rect">
            <a:avLst/>
          </a:prstGeom>
          <a:ln>
            <a:noFill/>
          </a:ln>
        </p:spPr>
      </p:pic>
      <p:pic>
        <p:nvPicPr>
          <p:cNvPr id="63" name="Picture 127">
            <a:extLst>
              <a:ext uri="{FF2B5EF4-FFF2-40B4-BE49-F238E27FC236}">
                <a16:creationId xmlns:a16="http://schemas.microsoft.com/office/drawing/2014/main" id="{B8F92F1D-73C0-2210-8CA6-3B023F83F4EB}"/>
              </a:ext>
            </a:extLst>
          </p:cNvPr>
          <p:cNvPicPr/>
          <p:nvPr/>
        </p:nvPicPr>
        <p:blipFill>
          <a:blip r:embed="rId11"/>
          <a:stretch/>
        </p:blipFill>
        <p:spPr>
          <a:xfrm>
            <a:off x="2971632" y="1541693"/>
            <a:ext cx="342000" cy="315000"/>
          </a:xfrm>
          <a:prstGeom prst="rect">
            <a:avLst/>
          </a:prstGeom>
          <a:ln>
            <a:noFill/>
          </a:ln>
        </p:spPr>
      </p:pic>
      <p:pic>
        <p:nvPicPr>
          <p:cNvPr id="64" name="Picture 131">
            <a:extLst>
              <a:ext uri="{FF2B5EF4-FFF2-40B4-BE49-F238E27FC236}">
                <a16:creationId xmlns:a16="http://schemas.microsoft.com/office/drawing/2014/main" id="{FD546C51-0497-1E6A-FE68-DA8C8D54EFD0}"/>
              </a:ext>
            </a:extLst>
          </p:cNvPr>
          <p:cNvPicPr/>
          <p:nvPr/>
        </p:nvPicPr>
        <p:blipFill>
          <a:blip r:embed="rId12"/>
          <a:stretch/>
        </p:blipFill>
        <p:spPr>
          <a:xfrm>
            <a:off x="6537072" y="1541693"/>
            <a:ext cx="342000" cy="315000"/>
          </a:xfrm>
          <a:prstGeom prst="rect">
            <a:avLst/>
          </a:prstGeom>
          <a:ln>
            <a:noFill/>
          </a:ln>
        </p:spPr>
      </p:pic>
      <p:pic>
        <p:nvPicPr>
          <p:cNvPr id="65" name="Picture 143">
            <a:extLst>
              <a:ext uri="{FF2B5EF4-FFF2-40B4-BE49-F238E27FC236}">
                <a16:creationId xmlns:a16="http://schemas.microsoft.com/office/drawing/2014/main" id="{DF794656-C1F8-4419-BC4D-FF34AFDC9CB6}"/>
              </a:ext>
            </a:extLst>
          </p:cNvPr>
          <p:cNvPicPr/>
          <p:nvPr/>
        </p:nvPicPr>
        <p:blipFill>
          <a:blip r:embed="rId13"/>
          <a:stretch/>
        </p:blipFill>
        <p:spPr>
          <a:xfrm>
            <a:off x="2830152" y="2689013"/>
            <a:ext cx="364680" cy="344520"/>
          </a:xfrm>
          <a:prstGeom prst="rect">
            <a:avLst/>
          </a:prstGeom>
          <a:ln>
            <a:noFill/>
          </a:ln>
        </p:spPr>
      </p:pic>
      <p:pic>
        <p:nvPicPr>
          <p:cNvPr id="66" name="Picture 209">
            <a:extLst>
              <a:ext uri="{FF2B5EF4-FFF2-40B4-BE49-F238E27FC236}">
                <a16:creationId xmlns:a16="http://schemas.microsoft.com/office/drawing/2014/main" id="{0F8982AE-4515-039D-AA66-A46FFA8D2072}"/>
              </a:ext>
            </a:extLst>
          </p:cNvPr>
          <p:cNvPicPr/>
          <p:nvPr/>
        </p:nvPicPr>
        <p:blipFill>
          <a:blip r:embed="rId14"/>
          <a:stretch/>
        </p:blipFill>
        <p:spPr>
          <a:xfrm>
            <a:off x="6458952" y="2845253"/>
            <a:ext cx="364680" cy="350280"/>
          </a:xfrm>
          <a:prstGeom prst="rect">
            <a:avLst/>
          </a:prstGeom>
          <a:ln>
            <a:noFill/>
          </a:ln>
        </p:spPr>
      </p:pic>
      <p:sp>
        <p:nvSpPr>
          <p:cNvPr id="67" name="CustomShape 44">
            <a:extLst>
              <a:ext uri="{FF2B5EF4-FFF2-40B4-BE49-F238E27FC236}">
                <a16:creationId xmlns:a16="http://schemas.microsoft.com/office/drawing/2014/main" id="{046B9C50-B347-1548-45BD-3CF41622D4B1}"/>
              </a:ext>
            </a:extLst>
          </p:cNvPr>
          <p:cNvSpPr/>
          <p:nvPr/>
        </p:nvSpPr>
        <p:spPr>
          <a:xfrm>
            <a:off x="4143792" y="5449493"/>
            <a:ext cx="1547280" cy="36396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1800" b="1" strike="noStrike" spc="-1" dirty="0">
                <a:solidFill>
                  <a:srgbClr val="AB3348"/>
                </a:solidFill>
                <a:latin typeface="Times New Roman"/>
                <a:ea typeface="DejaVu Sans"/>
              </a:rPr>
              <a:t>Hidden Layer</a:t>
            </a:r>
            <a:endParaRPr lang="en-US" sz="1800" b="0" strike="noStrike" spc="-1" dirty="0">
              <a:latin typeface="Arial"/>
            </a:endParaRP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73" name="TextBox 72">
                <a:extLst>
                  <a:ext uri="{FF2B5EF4-FFF2-40B4-BE49-F238E27FC236}">
                    <a16:creationId xmlns:a16="http://schemas.microsoft.com/office/drawing/2014/main" id="{95BA3F9A-BFC3-9181-18B3-00716EA51188}"/>
                  </a:ext>
                </a:extLst>
              </p:cNvPr>
              <p:cNvSpPr txBox="1"/>
              <p:nvPr/>
            </p:nvSpPr>
            <p:spPr>
              <a:xfrm>
                <a:off x="5031965" y="3878464"/>
                <a:ext cx="402354" cy="34701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tr-TR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tr-TR" b="0" i="1" smtClean="0">
                              <a:latin typeface="Cambria Math" panose="02040503050406030204" pitchFamily="18" charset="0"/>
                            </a:rPr>
                            <m:t>𝑧</m:t>
                          </m:r>
                        </m:e>
                        <m:sub>
                          <m:r>
                            <a:rPr lang="tr-TR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tr-TR" b="0" i="1" smtClean="0">
                              <a:latin typeface="Cambria Math" panose="02040503050406030204" pitchFamily="18" charset="0"/>
                            </a:rPr>
                            <m:t>[2]</m:t>
                          </m:r>
                        </m:sup>
                      </m:sSubSup>
                    </m:oMath>
                  </m:oMathPara>
                </a14:m>
                <a:endParaRPr lang="tr-TR" dirty="0"/>
              </a:p>
            </p:txBody>
          </p:sp>
        </mc:Choice>
        <mc:Fallback>
          <p:sp>
            <p:nvSpPr>
              <p:cNvPr id="73" name="TextBox 72">
                <a:extLst>
                  <a:ext uri="{FF2B5EF4-FFF2-40B4-BE49-F238E27FC236}">
                    <a16:creationId xmlns:a16="http://schemas.microsoft.com/office/drawing/2014/main" id="{95BA3F9A-BFC3-9181-18B3-00716EA5118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31965" y="3878464"/>
                <a:ext cx="402354" cy="347018"/>
              </a:xfrm>
              <a:prstGeom prst="rect">
                <a:avLst/>
              </a:prstGeom>
              <a:blipFill>
                <a:blip r:embed="rId15"/>
                <a:stretch>
                  <a:fillRect l="-7576" t="-3509" r="-13636" b="-17544"/>
                </a:stretch>
              </a:blipFill>
            </p:spPr>
            <p:txBody>
              <a:bodyPr/>
              <a:lstStyle/>
              <a:p>
                <a:r>
                  <a:rPr lang="tr-T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77" name="TextBox 76">
                <a:extLst>
                  <a:ext uri="{FF2B5EF4-FFF2-40B4-BE49-F238E27FC236}">
                    <a16:creationId xmlns:a16="http://schemas.microsoft.com/office/drawing/2014/main" id="{7E0156D1-E225-30BD-8087-B0345B6D59B9}"/>
                  </a:ext>
                </a:extLst>
              </p:cNvPr>
              <p:cNvSpPr txBox="1"/>
              <p:nvPr/>
            </p:nvSpPr>
            <p:spPr>
              <a:xfrm>
                <a:off x="5048168" y="2398855"/>
                <a:ext cx="402353" cy="35952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tr-TR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tr-TR" b="0" i="1" smtClean="0">
                              <a:latin typeface="Cambria Math" panose="02040503050406030204" pitchFamily="18" charset="0"/>
                            </a:rPr>
                            <m:t>𝑧</m:t>
                          </m:r>
                        </m:e>
                        <m:sub>
                          <m:r>
                            <a:rPr lang="tr-TR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  <m:sup>
                          <m:r>
                            <a:rPr lang="tr-TR" b="0" i="1" smtClean="0">
                              <a:latin typeface="Cambria Math" panose="02040503050406030204" pitchFamily="18" charset="0"/>
                            </a:rPr>
                            <m:t>[2]</m:t>
                          </m:r>
                        </m:sup>
                      </m:sSubSup>
                    </m:oMath>
                  </m:oMathPara>
                </a14:m>
                <a:endParaRPr lang="tr-TR" dirty="0"/>
              </a:p>
            </p:txBody>
          </p:sp>
        </mc:Choice>
        <mc:Fallback>
          <p:sp>
            <p:nvSpPr>
              <p:cNvPr id="77" name="TextBox 76">
                <a:extLst>
                  <a:ext uri="{FF2B5EF4-FFF2-40B4-BE49-F238E27FC236}">
                    <a16:creationId xmlns:a16="http://schemas.microsoft.com/office/drawing/2014/main" id="{7E0156D1-E225-30BD-8087-B0345B6D59B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48168" y="2398855"/>
                <a:ext cx="402353" cy="359522"/>
              </a:xfrm>
              <a:prstGeom prst="rect">
                <a:avLst/>
              </a:prstGeom>
              <a:blipFill>
                <a:blip r:embed="rId16"/>
                <a:stretch>
                  <a:fillRect l="-7576" t="-3448" r="-13636" b="-13793"/>
                </a:stretch>
              </a:blipFill>
            </p:spPr>
            <p:txBody>
              <a:bodyPr/>
              <a:lstStyle/>
              <a:p>
                <a:r>
                  <a:rPr lang="tr-T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78" name="TextBox 77">
                <a:extLst>
                  <a:ext uri="{FF2B5EF4-FFF2-40B4-BE49-F238E27FC236}">
                    <a16:creationId xmlns:a16="http://schemas.microsoft.com/office/drawing/2014/main" id="{14F1969D-63B4-5A70-B60B-BA528EFDE19B}"/>
                  </a:ext>
                </a:extLst>
              </p:cNvPr>
              <p:cNvSpPr txBox="1"/>
              <p:nvPr/>
            </p:nvSpPr>
            <p:spPr>
              <a:xfrm>
                <a:off x="1624056" y="3739346"/>
                <a:ext cx="402354" cy="34701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tr-TR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tr-TR" b="0" i="1" smtClean="0">
                              <a:latin typeface="Cambria Math" panose="02040503050406030204" pitchFamily="18" charset="0"/>
                            </a:rPr>
                            <m:t>𝑧</m:t>
                          </m:r>
                        </m:e>
                        <m:sub>
                          <m:r>
                            <a:rPr lang="tr-TR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tr-TR" b="0" i="1" smtClean="0">
                              <a:latin typeface="Cambria Math" panose="02040503050406030204" pitchFamily="18" charset="0"/>
                            </a:rPr>
                            <m:t>[1]</m:t>
                          </m:r>
                        </m:sup>
                      </m:sSubSup>
                    </m:oMath>
                  </m:oMathPara>
                </a14:m>
                <a:endParaRPr lang="tr-TR" dirty="0"/>
              </a:p>
            </p:txBody>
          </p:sp>
        </mc:Choice>
        <mc:Fallback>
          <p:sp>
            <p:nvSpPr>
              <p:cNvPr id="78" name="TextBox 77">
                <a:extLst>
                  <a:ext uri="{FF2B5EF4-FFF2-40B4-BE49-F238E27FC236}">
                    <a16:creationId xmlns:a16="http://schemas.microsoft.com/office/drawing/2014/main" id="{14F1969D-63B4-5A70-B60B-BA528EFDE19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24056" y="3739346"/>
                <a:ext cx="402354" cy="347018"/>
              </a:xfrm>
              <a:prstGeom prst="rect">
                <a:avLst/>
              </a:prstGeom>
              <a:blipFill>
                <a:blip r:embed="rId17"/>
                <a:stretch>
                  <a:fillRect l="-7576" t="-3509" r="-13636" b="-17544"/>
                </a:stretch>
              </a:blipFill>
            </p:spPr>
            <p:txBody>
              <a:bodyPr/>
              <a:lstStyle/>
              <a:p>
                <a:r>
                  <a:rPr lang="tr-T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79" name="TextBox 78">
                <a:extLst>
                  <a:ext uri="{FF2B5EF4-FFF2-40B4-BE49-F238E27FC236}">
                    <a16:creationId xmlns:a16="http://schemas.microsoft.com/office/drawing/2014/main" id="{23DD8162-6AF2-C94A-EC5D-FC766E702EDB}"/>
                  </a:ext>
                </a:extLst>
              </p:cNvPr>
              <p:cNvSpPr txBox="1"/>
              <p:nvPr/>
            </p:nvSpPr>
            <p:spPr>
              <a:xfrm>
                <a:off x="5031966" y="1381131"/>
                <a:ext cx="402353" cy="37029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tr-TR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tr-TR" b="0" i="1" smtClean="0">
                              <a:latin typeface="Cambria Math" panose="02040503050406030204" pitchFamily="18" charset="0"/>
                            </a:rPr>
                            <m:t>𝑧</m:t>
                          </m:r>
                        </m:e>
                        <m:sub>
                          <m:sSub>
                            <m:sSubPr>
                              <m:ctrlPr>
                                <a:rPr lang="tr-TR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tr-TR" b="0" i="1" smtClean="0">
                                  <a:latin typeface="Cambria Math" panose="02040503050406030204" pitchFamily="18" charset="0"/>
                                </a:rPr>
                                <m:t>𝑛</m:t>
                              </m:r>
                            </m:e>
                            <m:sub>
                              <m:r>
                                <a:rPr lang="tr-TR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</m:sSub>
                        </m:sub>
                        <m:sup>
                          <m:r>
                            <a:rPr lang="tr-TR" b="0" i="1" smtClean="0">
                              <a:latin typeface="Cambria Math" panose="02040503050406030204" pitchFamily="18" charset="0"/>
                            </a:rPr>
                            <m:t>[2]</m:t>
                          </m:r>
                        </m:sup>
                      </m:sSubSup>
                    </m:oMath>
                  </m:oMathPara>
                </a14:m>
                <a:endParaRPr lang="tr-TR" dirty="0"/>
              </a:p>
            </p:txBody>
          </p:sp>
        </mc:Choice>
        <mc:Fallback>
          <p:sp>
            <p:nvSpPr>
              <p:cNvPr id="79" name="TextBox 78">
                <a:extLst>
                  <a:ext uri="{FF2B5EF4-FFF2-40B4-BE49-F238E27FC236}">
                    <a16:creationId xmlns:a16="http://schemas.microsoft.com/office/drawing/2014/main" id="{23DD8162-6AF2-C94A-EC5D-FC766E702ED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31966" y="1381131"/>
                <a:ext cx="402353" cy="370294"/>
              </a:xfrm>
              <a:prstGeom prst="rect">
                <a:avLst/>
              </a:prstGeom>
              <a:blipFill>
                <a:blip r:embed="rId18"/>
                <a:stretch>
                  <a:fillRect l="-7576" t="-3333" r="-13636" b="-13333"/>
                </a:stretch>
              </a:blipFill>
            </p:spPr>
            <p:txBody>
              <a:bodyPr/>
              <a:lstStyle/>
              <a:p>
                <a:r>
                  <a:rPr lang="tr-T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80" name="TextBox 79">
                <a:extLst>
                  <a:ext uri="{FF2B5EF4-FFF2-40B4-BE49-F238E27FC236}">
                    <a16:creationId xmlns:a16="http://schemas.microsoft.com/office/drawing/2014/main" id="{3F8C0A6B-C40D-EAD2-FD71-4669F656F1A0}"/>
                  </a:ext>
                </a:extLst>
              </p:cNvPr>
              <p:cNvSpPr txBox="1"/>
              <p:nvPr/>
            </p:nvSpPr>
            <p:spPr>
              <a:xfrm>
                <a:off x="1604844" y="2775064"/>
                <a:ext cx="402354" cy="35952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tr-TR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tr-TR" b="0" i="1" smtClean="0">
                              <a:latin typeface="Cambria Math" panose="02040503050406030204" pitchFamily="18" charset="0"/>
                            </a:rPr>
                            <m:t>𝑧</m:t>
                          </m:r>
                        </m:e>
                        <m:sub>
                          <m:r>
                            <a:rPr lang="tr-TR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  <m:sup>
                          <m:r>
                            <a:rPr lang="tr-TR" b="0" i="1" smtClean="0">
                              <a:latin typeface="Cambria Math" panose="02040503050406030204" pitchFamily="18" charset="0"/>
                            </a:rPr>
                            <m:t>[1]</m:t>
                          </m:r>
                        </m:sup>
                      </m:sSubSup>
                    </m:oMath>
                  </m:oMathPara>
                </a14:m>
                <a:endParaRPr lang="tr-TR" dirty="0"/>
              </a:p>
            </p:txBody>
          </p:sp>
        </mc:Choice>
        <mc:Fallback>
          <p:sp>
            <p:nvSpPr>
              <p:cNvPr id="80" name="TextBox 79">
                <a:extLst>
                  <a:ext uri="{FF2B5EF4-FFF2-40B4-BE49-F238E27FC236}">
                    <a16:creationId xmlns:a16="http://schemas.microsoft.com/office/drawing/2014/main" id="{3F8C0A6B-C40D-EAD2-FD71-4669F656F1A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04844" y="2775064"/>
                <a:ext cx="402354" cy="359522"/>
              </a:xfrm>
              <a:prstGeom prst="rect">
                <a:avLst/>
              </a:prstGeom>
              <a:blipFill>
                <a:blip r:embed="rId19"/>
                <a:stretch>
                  <a:fillRect l="-7576" t="-3390" r="-13636" b="-16949"/>
                </a:stretch>
              </a:blipFill>
            </p:spPr>
            <p:txBody>
              <a:bodyPr/>
              <a:lstStyle/>
              <a:p>
                <a:r>
                  <a:rPr lang="tr-T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81" name="TextBox 80">
                <a:extLst>
                  <a:ext uri="{FF2B5EF4-FFF2-40B4-BE49-F238E27FC236}">
                    <a16:creationId xmlns:a16="http://schemas.microsoft.com/office/drawing/2014/main" id="{2B04596D-7AAA-AD53-EECA-7D3BF86CBD75}"/>
                  </a:ext>
                </a:extLst>
              </p:cNvPr>
              <p:cNvSpPr txBox="1"/>
              <p:nvPr/>
            </p:nvSpPr>
            <p:spPr>
              <a:xfrm>
                <a:off x="1604844" y="1841176"/>
                <a:ext cx="402354" cy="36792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tr-TR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tr-TR" b="0" i="1" smtClean="0">
                              <a:latin typeface="Cambria Math" panose="02040503050406030204" pitchFamily="18" charset="0"/>
                            </a:rPr>
                            <m:t>𝑧</m:t>
                          </m:r>
                        </m:e>
                        <m:sub>
                          <m:r>
                            <a:rPr lang="tr-TR" b="0" i="1" smtClean="0">
                              <a:latin typeface="Cambria Math" panose="02040503050406030204" pitchFamily="18" charset="0"/>
                            </a:rPr>
                            <m:t>𝑝</m:t>
                          </m:r>
                        </m:sub>
                        <m:sup>
                          <m:r>
                            <a:rPr lang="tr-TR" b="0" i="1" smtClean="0">
                              <a:latin typeface="Cambria Math" panose="02040503050406030204" pitchFamily="18" charset="0"/>
                            </a:rPr>
                            <m:t>[1]</m:t>
                          </m:r>
                        </m:sup>
                      </m:sSubSup>
                    </m:oMath>
                  </m:oMathPara>
                </a14:m>
                <a:endParaRPr lang="tr-TR" dirty="0"/>
              </a:p>
            </p:txBody>
          </p:sp>
        </mc:Choice>
        <mc:Fallback>
          <p:sp>
            <p:nvSpPr>
              <p:cNvPr id="81" name="TextBox 80">
                <a:extLst>
                  <a:ext uri="{FF2B5EF4-FFF2-40B4-BE49-F238E27FC236}">
                    <a16:creationId xmlns:a16="http://schemas.microsoft.com/office/drawing/2014/main" id="{2B04596D-7AAA-AD53-EECA-7D3BF86CBD7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04844" y="1841176"/>
                <a:ext cx="402354" cy="367921"/>
              </a:xfrm>
              <a:prstGeom prst="rect">
                <a:avLst/>
              </a:prstGeom>
              <a:blipFill>
                <a:blip r:embed="rId20"/>
                <a:stretch>
                  <a:fillRect l="-7576" t="-3333" r="-13636" b="-16667"/>
                </a:stretch>
              </a:blipFill>
            </p:spPr>
            <p:txBody>
              <a:bodyPr/>
              <a:lstStyle/>
              <a:p>
                <a:r>
                  <a:rPr lang="tr-T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82" name="TextBox 81">
                <a:extLst>
                  <a:ext uri="{FF2B5EF4-FFF2-40B4-BE49-F238E27FC236}">
                    <a16:creationId xmlns:a16="http://schemas.microsoft.com/office/drawing/2014/main" id="{1F362B12-5B36-3E40-70A8-6134975514BB}"/>
                  </a:ext>
                </a:extLst>
              </p:cNvPr>
              <p:cNvSpPr txBox="1"/>
              <p:nvPr/>
            </p:nvSpPr>
            <p:spPr>
              <a:xfrm>
                <a:off x="1624056" y="4530148"/>
                <a:ext cx="402354" cy="35952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tr-TR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tr-TR" b="0" i="1" smtClean="0">
                              <a:latin typeface="Cambria Math" panose="02040503050406030204" pitchFamily="18" charset="0"/>
                            </a:rPr>
                            <m:t>𝑧</m:t>
                          </m:r>
                        </m:e>
                        <m:sub>
                          <m:r>
                            <a:rPr lang="tr-TR" b="0" i="1" smtClean="0">
                              <a:latin typeface="Cambria Math" panose="02040503050406030204" pitchFamily="18" charset="0"/>
                            </a:rPr>
                            <m:t>0</m:t>
                          </m:r>
                        </m:sub>
                        <m:sup>
                          <m:r>
                            <a:rPr lang="tr-TR" b="0" i="1" smtClean="0">
                              <a:latin typeface="Cambria Math" panose="02040503050406030204" pitchFamily="18" charset="0"/>
                            </a:rPr>
                            <m:t>[1]</m:t>
                          </m:r>
                        </m:sup>
                      </m:sSubSup>
                    </m:oMath>
                  </m:oMathPara>
                </a14:m>
                <a:endParaRPr lang="tr-TR" dirty="0"/>
              </a:p>
            </p:txBody>
          </p:sp>
        </mc:Choice>
        <mc:Fallback>
          <p:sp>
            <p:nvSpPr>
              <p:cNvPr id="82" name="TextBox 81">
                <a:extLst>
                  <a:ext uri="{FF2B5EF4-FFF2-40B4-BE49-F238E27FC236}">
                    <a16:creationId xmlns:a16="http://schemas.microsoft.com/office/drawing/2014/main" id="{1F362B12-5B36-3E40-70A8-6134975514B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24056" y="4530148"/>
                <a:ext cx="402354" cy="359522"/>
              </a:xfrm>
              <a:prstGeom prst="rect">
                <a:avLst/>
              </a:prstGeom>
              <a:blipFill>
                <a:blip r:embed="rId21"/>
                <a:stretch>
                  <a:fillRect l="-7576" t="-3390" r="-13636" b="-13559"/>
                </a:stretch>
              </a:blipFill>
            </p:spPr>
            <p:txBody>
              <a:bodyPr/>
              <a:lstStyle/>
              <a:p>
                <a:r>
                  <a:rPr lang="tr-T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83" name="TextBox 82">
                <a:extLst>
                  <a:ext uri="{FF2B5EF4-FFF2-40B4-BE49-F238E27FC236}">
                    <a16:creationId xmlns:a16="http://schemas.microsoft.com/office/drawing/2014/main" id="{1F3167E2-9ED0-16B2-C0FF-720B70064230}"/>
                  </a:ext>
                </a:extLst>
              </p:cNvPr>
              <p:cNvSpPr txBox="1"/>
              <p:nvPr/>
            </p:nvSpPr>
            <p:spPr>
              <a:xfrm>
                <a:off x="9552395" y="4114051"/>
                <a:ext cx="2631348" cy="38138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tr-TR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tr-TR" i="1">
                              <a:latin typeface="Cambria Math" panose="02040503050406030204" pitchFamily="18" charset="0"/>
                            </a:rPr>
                            <m:t>𝑧</m:t>
                          </m:r>
                        </m:e>
                        <m:sup>
                          <m:r>
                            <a:rPr lang="tr-TR" i="1">
                              <a:latin typeface="Cambria Math" panose="02040503050406030204" pitchFamily="18" charset="0"/>
                            </a:rPr>
                            <m:t>[</m:t>
                          </m:r>
                          <m:r>
                            <a:rPr lang="tr-TR" i="1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tr-TR" i="1">
                              <a:latin typeface="Cambria Math" panose="02040503050406030204" pitchFamily="18" charset="0"/>
                            </a:rPr>
                            <m:t>]</m:t>
                          </m:r>
                        </m:sup>
                      </m:sSup>
                      <m:r>
                        <a:rPr lang="tr-TR" b="0" i="1" smtClean="0">
                          <a:latin typeface="Cambria Math" panose="02040503050406030204" pitchFamily="18" charset="0"/>
                        </a:rPr>
                        <m:t>=(</m:t>
                      </m:r>
                      <m:sSubSup>
                        <m:sSubSupPr>
                          <m:ctrlPr>
                            <a:rPr lang="tr-TR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tr-TR" i="1">
                              <a:latin typeface="Cambria Math" panose="02040503050406030204" pitchFamily="18" charset="0"/>
                            </a:rPr>
                            <m:t>𝑧</m:t>
                          </m:r>
                        </m:e>
                        <m:sub>
                          <m:r>
                            <a:rPr lang="tr-TR" b="0" i="1" smtClean="0">
                              <a:latin typeface="Cambria Math" panose="02040503050406030204" pitchFamily="18" charset="0"/>
                            </a:rPr>
                            <m:t>0</m:t>
                          </m:r>
                        </m:sub>
                        <m:sup>
                          <m:d>
                            <m:dPr>
                              <m:begChr m:val="["/>
                              <m:endChr m:val="]"/>
                              <m:ctrlPr>
                                <a:rPr lang="tr-TR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tr-TR" b="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e>
                          </m:d>
                        </m:sup>
                      </m:sSubSup>
                      <m:r>
                        <a:rPr lang="tr-TR" b="0" i="1" smtClean="0">
                          <a:latin typeface="Cambria Math" panose="02040503050406030204" pitchFamily="18" charset="0"/>
                        </a:rPr>
                        <m:t>,</m:t>
                      </m:r>
                      <m:sSubSup>
                        <m:sSubSupPr>
                          <m:ctrlPr>
                            <a:rPr lang="tr-TR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tr-TR" i="1">
                              <a:latin typeface="Cambria Math" panose="02040503050406030204" pitchFamily="18" charset="0"/>
                            </a:rPr>
                            <m:t>𝑧</m:t>
                          </m:r>
                        </m:e>
                        <m:sub>
                          <m:r>
                            <a:rPr lang="tr-TR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d>
                            <m:dPr>
                              <m:begChr m:val="["/>
                              <m:endChr m:val="]"/>
                              <m:ctrlPr>
                                <a:rPr lang="tr-TR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tr-TR" b="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e>
                          </m:d>
                        </m:sup>
                      </m:sSubSup>
                      <m:r>
                        <a:rPr lang="tr-TR" b="0" i="1" smtClean="0">
                          <a:latin typeface="Cambria Math" panose="02040503050406030204" pitchFamily="18" charset="0"/>
                        </a:rPr>
                        <m:t>,…,</m:t>
                      </m:r>
                      <m:sSubSup>
                        <m:sSubSupPr>
                          <m:ctrlPr>
                            <a:rPr lang="tr-TR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tr-TR" i="1">
                              <a:latin typeface="Cambria Math" panose="02040503050406030204" pitchFamily="18" charset="0"/>
                            </a:rPr>
                            <m:t>𝑧</m:t>
                          </m:r>
                        </m:e>
                        <m:sub>
                          <m:sSub>
                            <m:sSubPr>
                              <m:ctrlPr>
                                <a:rPr lang="tr-TR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tr-TR" i="1">
                                  <a:latin typeface="Cambria Math" panose="02040503050406030204" pitchFamily="18" charset="0"/>
                                </a:rPr>
                                <m:t>𝑛</m:t>
                              </m:r>
                            </m:e>
                            <m:sub>
                              <m:r>
                                <a:rPr lang="tr-TR" b="0" i="1" smtClean="0">
                                  <a:latin typeface="Cambria Math" panose="02040503050406030204" pitchFamily="18" charset="0"/>
                                </a:rPr>
                                <m:t>𝑘</m:t>
                              </m:r>
                            </m:sub>
                          </m:sSub>
                        </m:sub>
                        <m:sup>
                          <m:r>
                            <a:rPr lang="tr-TR" i="1">
                              <a:latin typeface="Cambria Math" panose="02040503050406030204" pitchFamily="18" charset="0"/>
                            </a:rPr>
                            <m:t>[</m:t>
                          </m:r>
                          <m:r>
                            <a:rPr lang="tr-TR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tr-TR" i="1">
                              <a:latin typeface="Cambria Math" panose="02040503050406030204" pitchFamily="18" charset="0"/>
                            </a:rPr>
                            <m:t>]</m:t>
                          </m:r>
                        </m:sup>
                      </m:sSubSup>
                      <m:r>
                        <a:rPr lang="tr-TR" b="0" i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tr-TR" dirty="0"/>
              </a:p>
            </p:txBody>
          </p:sp>
        </mc:Choice>
        <mc:Fallback>
          <p:sp>
            <p:nvSpPr>
              <p:cNvPr id="83" name="TextBox 82">
                <a:extLst>
                  <a:ext uri="{FF2B5EF4-FFF2-40B4-BE49-F238E27FC236}">
                    <a16:creationId xmlns:a16="http://schemas.microsoft.com/office/drawing/2014/main" id="{1F3167E2-9ED0-16B2-C0FF-720B7006423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552395" y="4114051"/>
                <a:ext cx="2631348" cy="381386"/>
              </a:xfrm>
              <a:prstGeom prst="rect">
                <a:avLst/>
              </a:prstGeom>
              <a:blipFill>
                <a:blip r:embed="rId22"/>
                <a:stretch>
                  <a:fillRect t="-3226" b="-14516"/>
                </a:stretch>
              </a:blipFill>
            </p:spPr>
            <p:txBody>
              <a:bodyPr/>
              <a:lstStyle/>
              <a:p>
                <a:r>
                  <a:rPr lang="tr-T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90" name="TextBox 89">
                <a:extLst>
                  <a:ext uri="{FF2B5EF4-FFF2-40B4-BE49-F238E27FC236}">
                    <a16:creationId xmlns:a16="http://schemas.microsoft.com/office/drawing/2014/main" id="{77371195-EA60-FE25-8424-7F9D63D77604}"/>
                  </a:ext>
                </a:extLst>
              </p:cNvPr>
              <p:cNvSpPr txBox="1"/>
              <p:nvPr/>
            </p:nvSpPr>
            <p:spPr>
              <a:xfrm>
                <a:off x="7783544" y="1701554"/>
                <a:ext cx="6121152" cy="47371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tr-TR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tr-TR" b="0" i="1" smtClean="0">
                              <a:latin typeface="Cambria Math" panose="02040503050406030204" pitchFamily="18" charset="0"/>
                            </a:rPr>
                            <m:t>𝑎</m:t>
                          </m:r>
                        </m:e>
                        <m:sup>
                          <m:r>
                            <a:rPr lang="tr-TR" b="0" i="1" smtClean="0">
                              <a:latin typeface="Cambria Math" panose="02040503050406030204" pitchFamily="18" charset="0"/>
                            </a:rPr>
                            <m:t>[</m:t>
                          </m:r>
                          <m:r>
                            <a:rPr lang="tr-TR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tr-TR" b="0" i="1" smtClean="0">
                              <a:latin typeface="Cambria Math" panose="02040503050406030204" pitchFamily="18" charset="0"/>
                            </a:rPr>
                            <m:t>]</m:t>
                          </m:r>
                        </m:sup>
                      </m:sSup>
                      <m:r>
                        <a:rPr lang="tr-TR" i="1">
                          <a:latin typeface="Cambria Math" panose="02040503050406030204" pitchFamily="18" charset="0"/>
                        </a:rPr>
                        <m:t>=(</m:t>
                      </m:r>
                      <m:sSubSup>
                        <m:sSubSupPr>
                          <m:ctrlPr>
                            <a:rPr lang="tr-TR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tr-TR" b="0" i="1" smtClean="0">
                              <a:latin typeface="Cambria Math" panose="02040503050406030204" pitchFamily="18" charset="0"/>
                            </a:rPr>
                            <m:t>𝑎</m:t>
                          </m:r>
                        </m:e>
                        <m:sub>
                          <m:r>
                            <a:rPr lang="tr-TR" i="1">
                              <a:latin typeface="Cambria Math" panose="02040503050406030204" pitchFamily="18" charset="0"/>
                            </a:rPr>
                            <m:t>0</m:t>
                          </m:r>
                        </m:sub>
                        <m:sup>
                          <m:d>
                            <m:dPr>
                              <m:begChr m:val="["/>
                              <m:endChr m:val="]"/>
                              <m:ctrlPr>
                                <a:rPr lang="tr-TR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tr-TR" i="1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e>
                          </m:d>
                        </m:sup>
                      </m:sSubSup>
                      <m:r>
                        <a:rPr lang="tr-TR" i="1">
                          <a:latin typeface="Cambria Math" panose="02040503050406030204" pitchFamily="18" charset="0"/>
                        </a:rPr>
                        <m:t>,</m:t>
                      </m:r>
                      <m:sSubSup>
                        <m:sSubSupPr>
                          <m:ctrlPr>
                            <a:rPr lang="tr-TR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tr-TR" b="0" i="1" smtClean="0">
                              <a:latin typeface="Cambria Math" panose="02040503050406030204" pitchFamily="18" charset="0"/>
                            </a:rPr>
                            <m:t>𝑎</m:t>
                          </m:r>
                        </m:e>
                        <m:sub>
                          <m:r>
                            <a:rPr lang="tr-TR" i="1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d>
                            <m:dPr>
                              <m:begChr m:val="["/>
                              <m:endChr m:val="]"/>
                              <m:ctrlPr>
                                <a:rPr lang="tr-TR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tr-TR" i="1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e>
                          </m:d>
                        </m:sup>
                      </m:sSubSup>
                      <m:r>
                        <a:rPr lang="tr-TR" i="1">
                          <a:latin typeface="Cambria Math" panose="02040503050406030204" pitchFamily="18" charset="0"/>
                        </a:rPr>
                        <m:t>,…,</m:t>
                      </m:r>
                      <m:sSubSup>
                        <m:sSubSupPr>
                          <m:ctrlPr>
                            <a:rPr lang="tr-TR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tr-TR" b="0" i="1" smtClean="0">
                              <a:latin typeface="Cambria Math" panose="02040503050406030204" pitchFamily="18" charset="0"/>
                            </a:rPr>
                            <m:t>𝑎</m:t>
                          </m:r>
                        </m:e>
                        <m:sub>
                          <m:sSub>
                            <m:sSubPr>
                              <m:ctrlPr>
                                <a:rPr lang="tr-TR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tr-TR" i="1">
                                  <a:latin typeface="Cambria Math" panose="02040503050406030204" pitchFamily="18" charset="0"/>
                                </a:rPr>
                                <m:t>𝑛</m:t>
                              </m:r>
                            </m:e>
                            <m:sub>
                              <m:r>
                                <a:rPr lang="tr-TR" b="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sub>
                          </m:sSub>
                        </m:sub>
                        <m:sup>
                          <m:r>
                            <a:rPr lang="tr-TR" i="1">
                              <a:latin typeface="Cambria Math" panose="02040503050406030204" pitchFamily="18" charset="0"/>
                            </a:rPr>
                            <m:t>[</m:t>
                          </m:r>
                          <m:r>
                            <a:rPr lang="tr-TR" i="1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tr-TR" i="1">
                              <a:latin typeface="Cambria Math" panose="02040503050406030204" pitchFamily="18" charset="0"/>
                            </a:rPr>
                            <m:t>]</m:t>
                          </m:r>
                        </m:sup>
                      </m:sSubSup>
                      <m:r>
                        <a:rPr lang="tr-TR" i="1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tr-TR" dirty="0"/>
              </a:p>
            </p:txBody>
          </p:sp>
        </mc:Choice>
        <mc:Fallback>
          <p:sp>
            <p:nvSpPr>
              <p:cNvPr id="90" name="TextBox 89">
                <a:extLst>
                  <a:ext uri="{FF2B5EF4-FFF2-40B4-BE49-F238E27FC236}">
                    <a16:creationId xmlns:a16="http://schemas.microsoft.com/office/drawing/2014/main" id="{77371195-EA60-FE25-8424-7F9D63D7760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783544" y="1701554"/>
                <a:ext cx="6121152" cy="473719"/>
              </a:xfrm>
              <a:prstGeom prst="rect">
                <a:avLst/>
              </a:prstGeom>
              <a:blipFill>
                <a:blip r:embed="rId23"/>
                <a:stretch>
                  <a:fillRect b="-1282"/>
                </a:stretch>
              </a:blipFill>
            </p:spPr>
            <p:txBody>
              <a:bodyPr/>
              <a:lstStyle/>
              <a:p>
                <a:r>
                  <a:rPr lang="tr-T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92" name="TextBox 91">
                <a:extLst>
                  <a:ext uri="{FF2B5EF4-FFF2-40B4-BE49-F238E27FC236}">
                    <a16:creationId xmlns:a16="http://schemas.microsoft.com/office/drawing/2014/main" id="{D606B8BE-79BD-D8E7-88ED-0D8A62627F82}"/>
                  </a:ext>
                </a:extLst>
              </p:cNvPr>
              <p:cNvSpPr txBox="1"/>
              <p:nvPr/>
            </p:nvSpPr>
            <p:spPr>
              <a:xfrm>
                <a:off x="7295261" y="2242553"/>
                <a:ext cx="6978072" cy="879856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tr-TR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tr-TR" b="0" i="1" smtClean="0">
                              <a:latin typeface="Cambria Math" panose="02040503050406030204" pitchFamily="18" charset="0"/>
                            </a:rPr>
                            <m:t>𝑎</m:t>
                          </m:r>
                        </m:e>
                        <m:sub>
                          <m:r>
                            <a:rPr lang="tr-TR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  <m:sup>
                          <m:d>
                            <m:dPr>
                              <m:begChr m:val="["/>
                              <m:endChr m:val="]"/>
                              <m:ctrlPr>
                                <a:rPr lang="tr-TR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tr-TR" i="1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e>
                          </m:d>
                        </m:sup>
                      </m:sSubSup>
                      <m:r>
                        <a:rPr lang="tr-TR" b="0" i="1" smtClean="0">
                          <a:latin typeface="Cambria Math" panose="02040503050406030204" pitchFamily="18" charset="0"/>
                        </a:rPr>
                        <m:t>= </m:t>
                      </m:r>
                      <m:nary>
                        <m:naryPr>
                          <m:chr m:val="∑"/>
                          <m:ctrlPr>
                            <a:rPr lang="tr-TR" b="0" i="1" smtClean="0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tr-TR" b="0" i="1" smtClean="0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tr-TR" b="0" i="1" smtClean="0">
                              <a:latin typeface="Cambria Math" panose="02040503050406030204" pitchFamily="18" charset="0"/>
                            </a:rPr>
                            <m:t>=0</m:t>
                          </m:r>
                        </m:sub>
                        <m:sup>
                          <m:sSub>
                            <m:sSubPr>
                              <m:ctrlPr>
                                <a:rPr lang="tr-TR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tr-TR" b="0" i="1" smtClean="0">
                                  <a:latin typeface="Cambria Math" panose="02040503050406030204" pitchFamily="18" charset="0"/>
                                </a:rPr>
                                <m:t>𝑛</m:t>
                              </m:r>
                            </m:e>
                            <m:sub>
                              <m:r>
                                <a:rPr lang="tr-TR" b="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  <m:r>
                                <a:rPr lang="tr-TR" b="0" i="1" smtClean="0">
                                  <a:latin typeface="Cambria Math" panose="02040503050406030204" pitchFamily="18" charset="0"/>
                                </a:rPr>
                                <m:t>−1</m:t>
                              </m:r>
                            </m:sub>
                          </m:sSub>
                        </m:sup>
                        <m:e>
                          <m:sSubSup>
                            <m:sSubSupPr>
                              <m:ctrlPr>
                                <a:rPr lang="tr-TR" b="0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tr-TR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𝛽</m:t>
                              </m:r>
                            </m:e>
                            <m:sub>
                              <m:r>
                                <a:rPr lang="tr-TR" b="0" i="1" smtClean="0">
                                  <a:latin typeface="Cambria Math" panose="02040503050406030204" pitchFamily="18" charset="0"/>
                                </a:rPr>
                                <m:t>𝑗𝑖</m:t>
                              </m:r>
                            </m:sub>
                            <m:sup>
                              <m:r>
                                <a:rPr lang="tr-TR" b="0" i="1" smtClean="0">
                                  <a:latin typeface="Cambria Math" panose="02040503050406030204" pitchFamily="18" charset="0"/>
                                </a:rPr>
                                <m:t>(</m:t>
                              </m:r>
                              <m:r>
                                <a:rPr lang="tr-TR" b="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  <m:r>
                                <a:rPr lang="tr-TR" b="0" i="1" smtClean="0">
                                  <a:latin typeface="Cambria Math" panose="02040503050406030204" pitchFamily="18" charset="0"/>
                                </a:rPr>
                                <m:t>−1)</m:t>
                              </m:r>
                            </m:sup>
                          </m:sSubSup>
                          <m:sSubSup>
                            <m:sSubSupPr>
                              <m:ctrlPr>
                                <a:rPr lang="tr-TR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tr-TR" i="1">
                                  <a:latin typeface="Cambria Math" panose="02040503050406030204" pitchFamily="18" charset="0"/>
                                </a:rPr>
                                <m:t>𝑧</m:t>
                              </m:r>
                            </m:e>
                            <m:sub>
                              <m:r>
                                <a:rPr lang="tr-TR" b="0" i="1" smtClean="0">
                                  <a:latin typeface="Cambria Math" panose="02040503050406030204" pitchFamily="18" charset="0"/>
                                </a:rPr>
                                <m:t>𝑗</m:t>
                              </m:r>
                            </m:sub>
                            <m:sup>
                              <m:d>
                                <m:dPr>
                                  <m:begChr m:val="["/>
                                  <m:endChr m:val="]"/>
                                  <m:ctrlPr>
                                    <a:rPr lang="tr-TR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tr-TR" i="1">
                                      <a:latin typeface="Cambria Math" panose="02040503050406030204" pitchFamily="18" charset="0"/>
                                    </a:rPr>
                                    <m:t>𝑙</m:t>
                                  </m:r>
                                  <m:r>
                                    <a:rPr lang="tr-TR" b="0" i="1" smtClean="0">
                                      <a:latin typeface="Cambria Math" panose="02040503050406030204" pitchFamily="18" charset="0"/>
                                    </a:rPr>
                                    <m:t>−1</m:t>
                                  </m:r>
                                </m:e>
                              </m:d>
                            </m:sup>
                          </m:sSubSup>
                        </m:e>
                      </m:nary>
                    </m:oMath>
                  </m:oMathPara>
                </a14:m>
                <a:endParaRPr lang="tr-TR" dirty="0"/>
              </a:p>
            </p:txBody>
          </p:sp>
        </mc:Choice>
        <mc:Fallback>
          <p:sp>
            <p:nvSpPr>
              <p:cNvPr id="92" name="TextBox 91">
                <a:extLst>
                  <a:ext uri="{FF2B5EF4-FFF2-40B4-BE49-F238E27FC236}">
                    <a16:creationId xmlns:a16="http://schemas.microsoft.com/office/drawing/2014/main" id="{D606B8BE-79BD-D8E7-88ED-0D8A62627F8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95261" y="2242553"/>
                <a:ext cx="6978072" cy="879856"/>
              </a:xfrm>
              <a:prstGeom prst="rect">
                <a:avLst/>
              </a:prstGeom>
              <a:blipFill>
                <a:blip r:embed="rId2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tr-T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94" name="TextBox 93">
                <a:extLst>
                  <a:ext uri="{FF2B5EF4-FFF2-40B4-BE49-F238E27FC236}">
                    <a16:creationId xmlns:a16="http://schemas.microsoft.com/office/drawing/2014/main" id="{A1FF4D04-AC39-0FF1-CF25-8B513611F475}"/>
                  </a:ext>
                </a:extLst>
              </p:cNvPr>
              <p:cNvSpPr txBox="1"/>
              <p:nvPr/>
            </p:nvSpPr>
            <p:spPr>
              <a:xfrm>
                <a:off x="7345309" y="3193221"/>
                <a:ext cx="7162800" cy="38113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tr-TR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sSup>
                            <m:sSupPr>
                              <m:ctrlPr>
                                <a:rPr lang="tr-TR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tr-TR" i="1">
                                  <a:latin typeface="Cambria Math" panose="02040503050406030204" pitchFamily="18" charset="0"/>
                                </a:rPr>
                                <m:t>𝑎</m:t>
                              </m:r>
                            </m:e>
                            <m:sup>
                              <m:r>
                                <a:rPr lang="tr-TR" i="1">
                                  <a:latin typeface="Cambria Math" panose="02040503050406030204" pitchFamily="18" charset="0"/>
                                </a:rPr>
                                <m:t>[</m:t>
                              </m:r>
                              <m:r>
                                <a:rPr lang="tr-TR" i="1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  <m:r>
                                <a:rPr lang="tr-TR" i="1">
                                  <a:latin typeface="Cambria Math" panose="02040503050406030204" pitchFamily="18" charset="0"/>
                                </a:rPr>
                                <m:t>]</m:t>
                              </m:r>
                            </m:sup>
                          </m:sSup>
                          <m:r>
                            <a:rPr lang="tr-TR" b="0" i="1" smtClean="0">
                              <a:latin typeface="Cambria Math" panose="02040503050406030204" pitchFamily="18" charset="0"/>
                            </a:rPr>
                            <m:t>=</m:t>
                          </m:r>
                          <m:r>
                            <a:rPr lang="tr-TR" b="0" i="1" smtClean="0">
                              <a:latin typeface="Cambria Math" panose="02040503050406030204" pitchFamily="18" charset="0"/>
                            </a:rPr>
                            <m:t>𝑊</m:t>
                          </m:r>
                        </m:e>
                        <m:sup>
                          <m:r>
                            <a:rPr lang="tr-TR" b="0" i="1" smtClean="0">
                              <a:latin typeface="Cambria Math" panose="02040503050406030204" pitchFamily="18" charset="0"/>
                            </a:rPr>
                            <m:t>[</m:t>
                          </m:r>
                          <m:r>
                            <a:rPr lang="tr-TR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tr-TR" b="0" i="1" smtClean="0">
                              <a:latin typeface="Cambria Math" panose="02040503050406030204" pitchFamily="18" charset="0"/>
                            </a:rPr>
                            <m:t>−1]</m:t>
                          </m:r>
                        </m:sup>
                      </m:sSup>
                      <m:sSup>
                        <m:sSupPr>
                          <m:ctrlPr>
                            <a:rPr lang="tr-TR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tr-TR" i="1">
                              <a:latin typeface="Cambria Math" panose="02040503050406030204" pitchFamily="18" charset="0"/>
                            </a:rPr>
                            <m:t>𝑧</m:t>
                          </m:r>
                        </m:e>
                        <m:sup>
                          <m:r>
                            <a:rPr lang="tr-TR" i="1">
                              <a:latin typeface="Cambria Math" panose="02040503050406030204" pitchFamily="18" charset="0"/>
                            </a:rPr>
                            <m:t>[</m:t>
                          </m:r>
                          <m:r>
                            <a:rPr lang="tr-TR" i="1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tr-TR" b="0" i="1" smtClean="0">
                              <a:latin typeface="Cambria Math" panose="02040503050406030204" pitchFamily="18" charset="0"/>
                            </a:rPr>
                            <m:t>−1</m:t>
                          </m:r>
                          <m:r>
                            <a:rPr lang="tr-TR" i="1">
                              <a:latin typeface="Cambria Math" panose="02040503050406030204" pitchFamily="18" charset="0"/>
                            </a:rPr>
                            <m:t>]</m:t>
                          </m:r>
                        </m:sup>
                      </m:sSup>
                    </m:oMath>
                  </m:oMathPara>
                </a14:m>
                <a:endParaRPr lang="tr-TR" dirty="0"/>
              </a:p>
            </p:txBody>
          </p:sp>
        </mc:Choice>
        <mc:Fallback>
          <p:sp>
            <p:nvSpPr>
              <p:cNvPr id="94" name="TextBox 93">
                <a:extLst>
                  <a:ext uri="{FF2B5EF4-FFF2-40B4-BE49-F238E27FC236}">
                    <a16:creationId xmlns:a16="http://schemas.microsoft.com/office/drawing/2014/main" id="{A1FF4D04-AC39-0FF1-CF25-8B513611F47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345309" y="3193221"/>
                <a:ext cx="7162800" cy="381130"/>
              </a:xfrm>
              <a:prstGeom prst="rect">
                <a:avLst/>
              </a:prstGeom>
              <a:blipFill>
                <a:blip r:embed="rId2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tr-T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95" name="TextBox 94">
                <a:extLst>
                  <a:ext uri="{FF2B5EF4-FFF2-40B4-BE49-F238E27FC236}">
                    <a16:creationId xmlns:a16="http://schemas.microsoft.com/office/drawing/2014/main" id="{180DBA5C-7316-5E8A-1B1C-DC2F10076151}"/>
                  </a:ext>
                </a:extLst>
              </p:cNvPr>
              <p:cNvSpPr txBox="1"/>
              <p:nvPr/>
            </p:nvSpPr>
            <p:spPr>
              <a:xfrm>
                <a:off x="9560652" y="4811984"/>
                <a:ext cx="2631348" cy="28879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tr-TR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tr-TR" i="1">
                              <a:latin typeface="Cambria Math" panose="02040503050406030204" pitchFamily="18" charset="0"/>
                            </a:rPr>
                            <m:t>𝑧</m:t>
                          </m:r>
                        </m:e>
                        <m:sup>
                          <m:r>
                            <a:rPr lang="tr-TR" i="1">
                              <a:latin typeface="Cambria Math" panose="02040503050406030204" pitchFamily="18" charset="0"/>
                            </a:rPr>
                            <m:t>[</m:t>
                          </m:r>
                          <m:r>
                            <a:rPr lang="tr-TR" i="1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tr-TR" i="1">
                              <a:latin typeface="Cambria Math" panose="02040503050406030204" pitchFamily="18" charset="0"/>
                            </a:rPr>
                            <m:t>]</m:t>
                          </m:r>
                        </m:sup>
                      </m:sSup>
                      <m:r>
                        <a:rPr lang="tr-TR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tr-TR" b="0" i="1" smtClean="0">
                          <a:latin typeface="Cambria Math" panose="02040503050406030204" pitchFamily="18" charset="0"/>
                        </a:rPr>
                        <m:t>h</m:t>
                      </m:r>
                      <m:r>
                        <a:rPr lang="tr-TR" b="0" i="1" smtClean="0">
                          <a:latin typeface="Cambria Math" panose="02040503050406030204" pitchFamily="18" charset="0"/>
                        </a:rPr>
                        <m:t>(</m:t>
                      </m:r>
                      <m:sSup>
                        <m:sSupPr>
                          <m:ctrlPr>
                            <a:rPr lang="tr-TR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tr-TR" i="1">
                              <a:latin typeface="Cambria Math" panose="02040503050406030204" pitchFamily="18" charset="0"/>
                            </a:rPr>
                            <m:t>𝑎</m:t>
                          </m:r>
                        </m:e>
                        <m:sup>
                          <m:r>
                            <a:rPr lang="tr-TR" i="1">
                              <a:latin typeface="Cambria Math" panose="02040503050406030204" pitchFamily="18" charset="0"/>
                            </a:rPr>
                            <m:t>[</m:t>
                          </m:r>
                          <m:r>
                            <a:rPr lang="tr-TR" i="1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tr-TR" i="1">
                              <a:latin typeface="Cambria Math" panose="02040503050406030204" pitchFamily="18" charset="0"/>
                            </a:rPr>
                            <m:t>]</m:t>
                          </m:r>
                        </m:sup>
                      </m:sSup>
                      <m:r>
                        <a:rPr lang="tr-TR" b="0" i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tr-TR" dirty="0"/>
              </a:p>
            </p:txBody>
          </p:sp>
        </mc:Choice>
        <mc:Fallback>
          <p:sp>
            <p:nvSpPr>
              <p:cNvPr id="95" name="TextBox 94">
                <a:extLst>
                  <a:ext uri="{FF2B5EF4-FFF2-40B4-BE49-F238E27FC236}">
                    <a16:creationId xmlns:a16="http://schemas.microsoft.com/office/drawing/2014/main" id="{180DBA5C-7316-5E8A-1B1C-DC2F1007615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560652" y="4811984"/>
                <a:ext cx="2631348" cy="288797"/>
              </a:xfrm>
              <a:prstGeom prst="rect">
                <a:avLst/>
              </a:prstGeom>
              <a:blipFill>
                <a:blip r:embed="rId26"/>
                <a:stretch>
                  <a:fillRect t="-8333" b="-31250"/>
                </a:stretch>
              </a:blipFill>
            </p:spPr>
            <p:txBody>
              <a:bodyPr/>
              <a:lstStyle/>
              <a:p>
                <a:r>
                  <a:rPr lang="tr-T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98" name="TextBox 97">
                <a:extLst>
                  <a:ext uri="{FF2B5EF4-FFF2-40B4-BE49-F238E27FC236}">
                    <a16:creationId xmlns:a16="http://schemas.microsoft.com/office/drawing/2014/main" id="{F2241AB7-C159-F89E-D6A7-3B829E5A4529}"/>
                  </a:ext>
                </a:extLst>
              </p:cNvPr>
              <p:cNvSpPr txBox="1"/>
              <p:nvPr/>
            </p:nvSpPr>
            <p:spPr>
              <a:xfrm>
                <a:off x="4433549" y="3863733"/>
                <a:ext cx="412741" cy="34701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tr-TR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tr-TR" b="0" i="1" smtClean="0">
                              <a:latin typeface="Cambria Math" panose="02040503050406030204" pitchFamily="18" charset="0"/>
                            </a:rPr>
                            <m:t>𝑎</m:t>
                          </m:r>
                        </m:e>
                        <m:sub>
                          <m:r>
                            <a:rPr lang="tr-TR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tr-TR" b="0" i="1" smtClean="0">
                              <a:latin typeface="Cambria Math" panose="02040503050406030204" pitchFamily="18" charset="0"/>
                            </a:rPr>
                            <m:t>[2]</m:t>
                          </m:r>
                        </m:sup>
                      </m:sSubSup>
                    </m:oMath>
                  </m:oMathPara>
                </a14:m>
                <a:endParaRPr lang="tr-TR" dirty="0"/>
              </a:p>
            </p:txBody>
          </p:sp>
        </mc:Choice>
        <mc:Fallback>
          <p:sp>
            <p:nvSpPr>
              <p:cNvPr id="98" name="TextBox 97">
                <a:extLst>
                  <a:ext uri="{FF2B5EF4-FFF2-40B4-BE49-F238E27FC236}">
                    <a16:creationId xmlns:a16="http://schemas.microsoft.com/office/drawing/2014/main" id="{F2241AB7-C159-F89E-D6A7-3B829E5A452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33549" y="3863733"/>
                <a:ext cx="412741" cy="347018"/>
              </a:xfrm>
              <a:prstGeom prst="rect">
                <a:avLst/>
              </a:prstGeom>
              <a:blipFill>
                <a:blip r:embed="rId27"/>
                <a:stretch>
                  <a:fillRect l="-8824" t="-3509" r="-11765" b="-15789"/>
                </a:stretch>
              </a:blipFill>
            </p:spPr>
            <p:txBody>
              <a:bodyPr/>
              <a:lstStyle/>
              <a:p>
                <a:r>
                  <a:rPr lang="tr-T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99" name="TextBox 98">
                <a:extLst>
                  <a:ext uri="{FF2B5EF4-FFF2-40B4-BE49-F238E27FC236}">
                    <a16:creationId xmlns:a16="http://schemas.microsoft.com/office/drawing/2014/main" id="{BD8D236A-BA47-B381-0931-B3ECBFE2AAF5}"/>
                  </a:ext>
                </a:extLst>
              </p:cNvPr>
              <p:cNvSpPr txBox="1"/>
              <p:nvPr/>
            </p:nvSpPr>
            <p:spPr>
              <a:xfrm>
                <a:off x="4384715" y="2398938"/>
                <a:ext cx="412741" cy="35952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tr-TR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tr-TR" b="0" i="1" smtClean="0">
                              <a:latin typeface="Cambria Math" panose="02040503050406030204" pitchFamily="18" charset="0"/>
                            </a:rPr>
                            <m:t>𝑎</m:t>
                          </m:r>
                        </m:e>
                        <m:sub>
                          <m:r>
                            <a:rPr lang="tr-TR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  <m:sup>
                          <m:r>
                            <a:rPr lang="tr-TR" b="0" i="1" smtClean="0">
                              <a:latin typeface="Cambria Math" panose="02040503050406030204" pitchFamily="18" charset="0"/>
                            </a:rPr>
                            <m:t>[2]</m:t>
                          </m:r>
                        </m:sup>
                      </m:sSubSup>
                    </m:oMath>
                  </m:oMathPara>
                </a14:m>
                <a:endParaRPr lang="tr-TR" dirty="0"/>
              </a:p>
            </p:txBody>
          </p:sp>
        </mc:Choice>
        <mc:Fallback>
          <p:sp>
            <p:nvSpPr>
              <p:cNvPr id="99" name="TextBox 98">
                <a:extLst>
                  <a:ext uri="{FF2B5EF4-FFF2-40B4-BE49-F238E27FC236}">
                    <a16:creationId xmlns:a16="http://schemas.microsoft.com/office/drawing/2014/main" id="{BD8D236A-BA47-B381-0931-B3ECBFE2AAF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384715" y="2398938"/>
                <a:ext cx="412741" cy="359522"/>
              </a:xfrm>
              <a:prstGeom prst="rect">
                <a:avLst/>
              </a:prstGeom>
              <a:blipFill>
                <a:blip r:embed="rId28"/>
                <a:stretch>
                  <a:fillRect l="-8824" t="-3390" r="-11765" b="-11864"/>
                </a:stretch>
              </a:blipFill>
            </p:spPr>
            <p:txBody>
              <a:bodyPr/>
              <a:lstStyle/>
              <a:p>
                <a:r>
                  <a:rPr lang="tr-T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00" name="TextBox 99">
                <a:extLst>
                  <a:ext uri="{FF2B5EF4-FFF2-40B4-BE49-F238E27FC236}">
                    <a16:creationId xmlns:a16="http://schemas.microsoft.com/office/drawing/2014/main" id="{DDE59B85-C8AB-0BF9-4507-45970C901EE4}"/>
                  </a:ext>
                </a:extLst>
              </p:cNvPr>
              <p:cNvSpPr txBox="1"/>
              <p:nvPr/>
            </p:nvSpPr>
            <p:spPr>
              <a:xfrm>
                <a:off x="4384102" y="1347619"/>
                <a:ext cx="412742" cy="37029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tr-TR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tr-TR" b="0" i="1" smtClean="0">
                              <a:latin typeface="Cambria Math" panose="02040503050406030204" pitchFamily="18" charset="0"/>
                            </a:rPr>
                            <m:t>𝑎</m:t>
                          </m:r>
                        </m:e>
                        <m:sub>
                          <m:sSub>
                            <m:sSubPr>
                              <m:ctrlPr>
                                <a:rPr lang="tr-TR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tr-TR" b="0" i="1" smtClean="0">
                                  <a:latin typeface="Cambria Math" panose="02040503050406030204" pitchFamily="18" charset="0"/>
                                </a:rPr>
                                <m:t>𝑛</m:t>
                              </m:r>
                            </m:e>
                            <m:sub>
                              <m:r>
                                <a:rPr lang="tr-TR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</m:sSub>
                        </m:sub>
                        <m:sup>
                          <m:r>
                            <a:rPr lang="tr-TR" b="0" i="1" smtClean="0">
                              <a:latin typeface="Cambria Math" panose="02040503050406030204" pitchFamily="18" charset="0"/>
                            </a:rPr>
                            <m:t>[2]</m:t>
                          </m:r>
                        </m:sup>
                      </m:sSubSup>
                    </m:oMath>
                  </m:oMathPara>
                </a14:m>
                <a:endParaRPr lang="tr-TR" dirty="0"/>
              </a:p>
            </p:txBody>
          </p:sp>
        </mc:Choice>
        <mc:Fallback>
          <p:sp>
            <p:nvSpPr>
              <p:cNvPr id="100" name="TextBox 99">
                <a:extLst>
                  <a:ext uri="{FF2B5EF4-FFF2-40B4-BE49-F238E27FC236}">
                    <a16:creationId xmlns:a16="http://schemas.microsoft.com/office/drawing/2014/main" id="{DDE59B85-C8AB-0BF9-4507-45970C901EE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384102" y="1347619"/>
                <a:ext cx="412742" cy="370294"/>
              </a:xfrm>
              <a:prstGeom prst="rect">
                <a:avLst/>
              </a:prstGeom>
              <a:blipFill>
                <a:blip r:embed="rId29"/>
                <a:stretch>
                  <a:fillRect l="-8824" t="-3279" r="-11765" b="-11475"/>
                </a:stretch>
              </a:blipFill>
            </p:spPr>
            <p:txBody>
              <a:bodyPr/>
              <a:lstStyle/>
              <a:p>
                <a:r>
                  <a:rPr lang="tr-T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07" name="TextBox 106">
                <a:extLst>
                  <a:ext uri="{FF2B5EF4-FFF2-40B4-BE49-F238E27FC236}">
                    <a16:creationId xmlns:a16="http://schemas.microsoft.com/office/drawing/2014/main" id="{50CBB319-BA47-1571-E2ED-A03276096F32}"/>
                  </a:ext>
                </a:extLst>
              </p:cNvPr>
              <p:cNvSpPr txBox="1"/>
              <p:nvPr/>
            </p:nvSpPr>
            <p:spPr>
              <a:xfrm>
                <a:off x="9941357" y="708137"/>
                <a:ext cx="1685879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tr-TR" b="0" i="1" smtClean="0">
                          <a:latin typeface="Cambria Math" panose="02040503050406030204" pitchFamily="18" charset="0"/>
                        </a:rPr>
                        <m:t>𝑙</m:t>
                      </m:r>
                      <m:r>
                        <a:rPr lang="tr-TR" b="0" i="1" smtClean="0">
                          <a:latin typeface="Cambria Math" panose="02040503050406030204" pitchFamily="18" charset="0"/>
                        </a:rPr>
                        <m:t>=1,2,…,</m:t>
                      </m:r>
                      <m:r>
                        <a:rPr lang="tr-TR" b="0" i="1" smtClean="0">
                          <a:latin typeface="Cambria Math" panose="02040503050406030204" pitchFamily="18" charset="0"/>
                        </a:rPr>
                        <m:t>𝐿</m:t>
                      </m:r>
                    </m:oMath>
                  </m:oMathPara>
                </a14:m>
                <a:endParaRPr lang="tr-TR" dirty="0"/>
              </a:p>
            </p:txBody>
          </p:sp>
        </mc:Choice>
        <mc:Fallback>
          <p:sp>
            <p:nvSpPr>
              <p:cNvPr id="107" name="TextBox 106">
                <a:extLst>
                  <a:ext uri="{FF2B5EF4-FFF2-40B4-BE49-F238E27FC236}">
                    <a16:creationId xmlns:a16="http://schemas.microsoft.com/office/drawing/2014/main" id="{50CBB319-BA47-1571-E2ED-A03276096F3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941357" y="708137"/>
                <a:ext cx="1685879" cy="276999"/>
              </a:xfrm>
              <a:prstGeom prst="rect">
                <a:avLst/>
              </a:prstGeom>
              <a:blipFill>
                <a:blip r:embed="rId30"/>
                <a:stretch>
                  <a:fillRect b="-6522"/>
                </a:stretch>
              </a:blipFill>
            </p:spPr>
            <p:txBody>
              <a:bodyPr/>
              <a:lstStyle/>
              <a:p>
                <a:r>
                  <a:rPr lang="tr-T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8" name="Rectangle 107">
            <a:extLst>
              <a:ext uri="{FF2B5EF4-FFF2-40B4-BE49-F238E27FC236}">
                <a16:creationId xmlns:a16="http://schemas.microsoft.com/office/drawing/2014/main" id="{7CFD7B96-DCA9-29F6-84F6-20C832F7262D}"/>
              </a:ext>
            </a:extLst>
          </p:cNvPr>
          <p:cNvSpPr/>
          <p:nvPr/>
        </p:nvSpPr>
        <p:spPr>
          <a:xfrm>
            <a:off x="9941357" y="544945"/>
            <a:ext cx="1685879" cy="616909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73952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3" grpId="0"/>
      <p:bldP spid="90" grpId="0"/>
      <p:bldP spid="92" grpId="0"/>
      <p:bldP spid="94" grpId="0"/>
      <p:bldP spid="95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E6EF2DD4-1428-4F29-BED0-012580DEB727}"/>
              </a:ext>
            </a:extLst>
          </p:cNvPr>
          <p:cNvGrpSpPr/>
          <p:nvPr/>
        </p:nvGrpSpPr>
        <p:grpSpPr>
          <a:xfrm>
            <a:off x="1" y="6496048"/>
            <a:ext cx="12192000" cy="381103"/>
            <a:chOff x="-1" y="6496048"/>
            <a:chExt cx="12192001" cy="361952"/>
          </a:xfrm>
        </p:grpSpPr>
        <p:sp>
          <p:nvSpPr>
            <p:cNvPr id="17" name="Dikdörtgen 10">
              <a:extLst>
                <a:ext uri="{FF2B5EF4-FFF2-40B4-BE49-F238E27FC236}">
                  <a16:creationId xmlns:a16="http://schemas.microsoft.com/office/drawing/2014/main" id="{C14596DF-271A-400A-B0AE-693FCDF2F217}"/>
                </a:ext>
              </a:extLst>
            </p:cNvPr>
            <p:cNvSpPr/>
            <p:nvPr/>
          </p:nvSpPr>
          <p:spPr>
            <a:xfrm>
              <a:off x="10115547" y="6496049"/>
              <a:ext cx="2076453" cy="361951"/>
            </a:xfrm>
            <a:prstGeom prst="rect">
              <a:avLst/>
            </a:prstGeom>
            <a:solidFill>
              <a:srgbClr val="2198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dirty="0"/>
                <a:t>   Özgür Martin</a:t>
              </a:r>
            </a:p>
          </p:txBody>
        </p:sp>
        <p:sp>
          <p:nvSpPr>
            <p:cNvPr id="18" name="Dikdörtgen 10">
              <a:extLst>
                <a:ext uri="{FF2B5EF4-FFF2-40B4-BE49-F238E27FC236}">
                  <a16:creationId xmlns:a16="http://schemas.microsoft.com/office/drawing/2014/main" id="{84A5B1F6-64B9-4792-8088-33FD44F5342F}"/>
                </a:ext>
              </a:extLst>
            </p:cNvPr>
            <p:cNvSpPr/>
            <p:nvPr/>
          </p:nvSpPr>
          <p:spPr>
            <a:xfrm>
              <a:off x="-1" y="6496048"/>
              <a:ext cx="10151743" cy="361952"/>
            </a:xfrm>
            <a:prstGeom prst="rect">
              <a:avLst/>
            </a:prstGeom>
            <a:solidFill>
              <a:srgbClr val="2198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altLang="ko-KR" dirty="0" err="1">
                  <a:solidFill>
                    <a:schemeClr val="bg1"/>
                  </a:solidFill>
                  <a:cs typeface="Arial" pitchFamily="34" charset="0"/>
                </a:rPr>
                <a:t>Neural</a:t>
              </a:r>
              <a:r>
                <a:rPr lang="tr-TR" altLang="ko-KR" dirty="0">
                  <a:solidFill>
                    <a:schemeClr val="bg1"/>
                  </a:solidFill>
                  <a:cs typeface="Arial" pitchFamily="34" charset="0"/>
                </a:rPr>
                <a:t> Networks</a:t>
              </a:r>
            </a:p>
          </p:txBody>
        </p:sp>
      </p:grpSp>
      <p:sp>
        <p:nvSpPr>
          <p:cNvPr id="19" name="CustomShape 1">
            <a:extLst>
              <a:ext uri="{FF2B5EF4-FFF2-40B4-BE49-F238E27FC236}">
                <a16:creationId xmlns:a16="http://schemas.microsoft.com/office/drawing/2014/main" id="{588052EC-6859-C242-A7B6-C4BA197E5BF1}"/>
              </a:ext>
            </a:extLst>
          </p:cNvPr>
          <p:cNvSpPr/>
          <p:nvPr/>
        </p:nvSpPr>
        <p:spPr>
          <a:xfrm>
            <a:off x="451110" y="246985"/>
            <a:ext cx="8170920" cy="106488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>
            <a:noAutofit/>
          </a:bodyPr>
          <a:lstStyle/>
          <a:p>
            <a:pPr>
              <a:lnSpc>
                <a:spcPts val="3200"/>
              </a:lnSpc>
            </a:pPr>
            <a:r>
              <a:rPr lang="en-US" sz="2800" b="0" strike="noStrike" spc="-1" dirty="0">
                <a:solidFill>
                  <a:srgbClr val="AB3348"/>
                </a:solidFill>
                <a:latin typeface="Times New Roman"/>
                <a:ea typeface="DejaVu Sans"/>
              </a:rPr>
              <a:t>Network Training</a:t>
            </a:r>
            <a:br>
              <a:rPr dirty="0"/>
            </a:br>
            <a:endParaRPr lang="en-US" sz="2000" b="0" strike="noStrike" spc="-1" dirty="0">
              <a:latin typeface="Arial"/>
            </a:endParaRP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2" name="TextBox 1">
                <a:extLst>
                  <a:ext uri="{FF2B5EF4-FFF2-40B4-BE49-F238E27FC236}">
                    <a16:creationId xmlns:a16="http://schemas.microsoft.com/office/drawing/2014/main" id="{E9426E38-A210-1705-92F9-16FC25AC84B9}"/>
                  </a:ext>
                </a:extLst>
              </p:cNvPr>
              <p:cNvSpPr txBox="1"/>
              <p:nvPr/>
            </p:nvSpPr>
            <p:spPr>
              <a:xfrm>
                <a:off x="5193523" y="165147"/>
                <a:ext cx="6711432" cy="633090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tr-TR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or </a:t>
                </a:r>
                <a:r>
                  <a:rPr lang="tr-TR" dirty="0" err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ounter</a:t>
                </a:r>
                <a:r>
                  <a:rPr lang="tr-TR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1 </a:t>
                </a:r>
                <a:r>
                  <a:rPr lang="tr-TR" dirty="0" err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upto</a:t>
                </a:r>
                <a:r>
                  <a:rPr lang="tr-TR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tr-TR" dirty="0" err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Niter</a:t>
                </a:r>
                <a:endParaRPr lang="tr-TR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r>
                  <a:rPr lang="tr-TR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	</a:t>
                </a:r>
              </a:p>
              <a:p>
                <a:r>
                  <a:rPr lang="tr-TR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	</a:t>
                </a:r>
                <a:r>
                  <a:rPr lang="tr-TR" dirty="0" err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hoose</a:t>
                </a:r>
                <a:r>
                  <a:rPr lang="tr-TR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an </a:t>
                </a:r>
                <a:r>
                  <a:rPr lang="tr-TR" dirty="0" err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integer</a:t>
                </a:r>
                <a:r>
                  <a:rPr lang="tr-TR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tr-TR" i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k </a:t>
                </a:r>
                <a:r>
                  <a:rPr lang="tr-TR" dirty="0" err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uniformly</a:t>
                </a:r>
                <a:r>
                  <a:rPr lang="tr-TR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at </a:t>
                </a:r>
                <a:r>
                  <a:rPr lang="tr-TR" dirty="0" err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andom</a:t>
                </a:r>
                <a:r>
                  <a:rPr lang="tr-TR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tr-TR" dirty="0" err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rom</a:t>
                </a:r>
                <a:r>
                  <a:rPr lang="tr-TR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{1, 2, …, N}</a:t>
                </a:r>
              </a:p>
              <a:p>
                <a:r>
                  <a:rPr lang="tr-TR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	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tr-TR" i="1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r>
                          <a:rPr lang="tr-TR" b="0" i="1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𝑥</m:t>
                        </m:r>
                      </m:e>
                      <m:sub>
                        <m:r>
                          <a:rPr lang="tr-TR" b="0" i="1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𝑘</m:t>
                        </m:r>
                      </m:sub>
                    </m:sSub>
                  </m:oMath>
                </a14:m>
                <a:r>
                  <a:rPr lang="tr-TR" b="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is </a:t>
                </a:r>
                <a:r>
                  <a:rPr lang="tr-TR" b="0" dirty="0" err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urrent</a:t>
                </a:r>
                <a:r>
                  <a:rPr lang="tr-TR" b="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tr-TR" b="0" dirty="0" err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raining</a:t>
                </a:r>
                <a:r>
                  <a:rPr lang="tr-TR" b="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data </a:t>
                </a:r>
                <a:r>
                  <a:rPr lang="tr-TR" b="0" dirty="0" err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point</a:t>
                </a:r>
                <a:endParaRPr lang="tr-TR" b="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r>
                  <a:rPr lang="tr-TR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	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tr-TR" i="1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sSupPr>
                      <m:e>
                        <m:r>
                          <a:rPr lang="tr-TR" b="0" i="1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𝑧</m:t>
                        </m:r>
                      </m:e>
                      <m:sup>
                        <m:r>
                          <a:rPr lang="tr-TR" b="0" i="1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[1]</m:t>
                        </m:r>
                      </m:sup>
                    </m:sSup>
                    <m:r>
                      <a:rPr lang="tr-TR" b="0" i="1" smtClean="0"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=</m:t>
                    </m:r>
                    <m:sSub>
                      <m:sSubPr>
                        <m:ctrlPr>
                          <a:rPr lang="tr-TR" i="1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r>
                          <a:rPr lang="tr-TR" i="1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𝑥</m:t>
                        </m:r>
                      </m:e>
                      <m:sub>
                        <m:r>
                          <a:rPr lang="tr-TR" i="1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𝑘</m:t>
                        </m:r>
                      </m:sub>
                    </m:sSub>
                  </m:oMath>
                </a14:m>
                <a:endParaRPr lang="tr-TR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endParaRPr lang="tr-TR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r>
                  <a:rPr lang="tr-TR" b="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	</a:t>
                </a:r>
                <a:r>
                  <a:rPr lang="tr-TR" b="0" dirty="0" err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or</a:t>
                </a:r>
                <a:r>
                  <a:rPr lang="tr-TR" b="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14:m>
                  <m:oMath xmlns:m="http://schemas.openxmlformats.org/officeDocument/2006/math">
                    <m:r>
                      <a:rPr lang="tr-TR" b="0" i="1" smtClean="0"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𝑙</m:t>
                    </m:r>
                    <m:r>
                      <a:rPr lang="tr-TR" b="0" i="1" smtClean="0"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=2</m:t>
                    </m:r>
                  </m:oMath>
                </a14:m>
                <a:r>
                  <a:rPr lang="tr-TR" b="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up to </a:t>
                </a:r>
                <a14:m>
                  <m:oMath xmlns:m="http://schemas.openxmlformats.org/officeDocument/2006/math">
                    <m:r>
                      <a:rPr lang="tr-TR" b="0" i="1" smtClean="0"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𝐿</m:t>
                    </m:r>
                  </m:oMath>
                </a14:m>
                <a:endParaRPr lang="tr-TR" b="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r>
                  <a:rPr lang="tr-TR" b="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		</a:t>
                </a:r>
                <a:r>
                  <a:rPr lang="tr-TR" dirty="0">
                    <a:cs typeface="Times New Roman" panose="02020603050405020304" pitchFamily="18" charset="0"/>
                  </a:rPr>
                  <a:t>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tr-TR" i="1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sSupPr>
                      <m:e>
                        <m:r>
                          <a:rPr lang="tr-TR" b="0" i="1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𝑎</m:t>
                        </m:r>
                      </m:e>
                      <m:sup>
                        <m:r>
                          <a:rPr lang="tr-TR" b="0" i="1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[</m:t>
                        </m:r>
                        <m:r>
                          <a:rPr lang="tr-TR" b="0" i="1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𝑙</m:t>
                        </m:r>
                        <m:r>
                          <a:rPr lang="tr-TR" b="0" i="1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]</m:t>
                        </m:r>
                      </m:sup>
                    </m:sSup>
                    <m:r>
                      <a:rPr lang="tr-TR" b="0" i="1" smtClean="0"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=</m:t>
                    </m:r>
                    <m:sSup>
                      <m:sSupPr>
                        <m:ctrlPr>
                          <a:rPr lang="tr-TR" i="1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sSupPr>
                      <m:e>
                        <m:r>
                          <a:rPr lang="tr-TR" b="0" i="1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𝑊</m:t>
                        </m:r>
                      </m:e>
                      <m:sup>
                        <m:r>
                          <a:rPr lang="tr-TR" i="1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[</m:t>
                        </m:r>
                        <m:r>
                          <a:rPr lang="tr-TR" b="0" i="1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𝑙</m:t>
                        </m:r>
                        <m:r>
                          <a:rPr lang="tr-TR" b="0" i="1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−1</m:t>
                        </m:r>
                        <m:r>
                          <a:rPr lang="tr-TR" i="1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]</m:t>
                        </m:r>
                      </m:sup>
                    </m:sSup>
                    <m:sSup>
                      <m:sSupPr>
                        <m:ctrlPr>
                          <a:rPr lang="tr-TR" i="1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sSupPr>
                      <m:e>
                        <m:r>
                          <a:rPr lang="tr-TR" i="1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𝑧</m:t>
                        </m:r>
                      </m:e>
                      <m:sup>
                        <m:r>
                          <a:rPr lang="tr-TR" i="1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[</m:t>
                        </m:r>
                        <m:r>
                          <a:rPr lang="tr-TR" b="0" i="1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𝑙</m:t>
                        </m:r>
                        <m:r>
                          <a:rPr lang="tr-TR" b="0" i="1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−1]</m:t>
                        </m:r>
                      </m:sup>
                    </m:sSup>
                  </m:oMath>
                </a14:m>
                <a:endParaRPr lang="tr-TR" b="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r>
                  <a:rPr lang="tr-TR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		</a:t>
                </a:r>
                <a:r>
                  <a:rPr lang="tr-TR" dirty="0">
                    <a:cs typeface="Times New Roman" panose="02020603050405020304" pitchFamily="18" charset="0"/>
                  </a:rPr>
                  <a:t>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tr-TR" i="1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sSupPr>
                      <m:e>
                        <m:r>
                          <a:rPr lang="tr-TR" b="0" i="1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𝑧</m:t>
                        </m:r>
                      </m:e>
                      <m:sup>
                        <m:r>
                          <a:rPr lang="tr-TR" b="0" i="1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[</m:t>
                        </m:r>
                        <m:r>
                          <a:rPr lang="tr-TR" b="0" i="1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𝑙</m:t>
                        </m:r>
                        <m:r>
                          <a:rPr lang="tr-TR" b="0" i="1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]</m:t>
                        </m:r>
                      </m:sup>
                    </m:sSup>
                    <m:r>
                      <a:rPr lang="tr-TR" b="0" i="1" smtClean="0"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=</m:t>
                    </m:r>
                    <m:r>
                      <a:rPr lang="tr-TR" b="0" i="1" smtClean="0"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h</m:t>
                    </m:r>
                    <m:r>
                      <a:rPr lang="tr-TR" b="0" i="1" smtClean="0"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(</m:t>
                    </m:r>
                    <m:sSup>
                      <m:sSupPr>
                        <m:ctrlPr>
                          <a:rPr lang="tr-TR" i="1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sSupPr>
                      <m:e>
                        <m:r>
                          <a:rPr lang="tr-TR" i="1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𝑎</m:t>
                        </m:r>
                      </m:e>
                      <m:sup>
                        <m:r>
                          <a:rPr lang="tr-TR" i="1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[</m:t>
                        </m:r>
                        <m:r>
                          <a:rPr lang="tr-TR" i="1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𝑙</m:t>
                        </m:r>
                        <m:r>
                          <a:rPr lang="tr-TR" i="1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]</m:t>
                        </m:r>
                      </m:sup>
                    </m:sSup>
                    <m:r>
                      <a:rPr lang="tr-TR" b="0" i="1" smtClean="0"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) </m:t>
                    </m:r>
                  </m:oMath>
                </a14:m>
                <a:endParaRPr lang="tr-TR" b="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r>
                  <a:rPr lang="tr-TR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		</a:t>
                </a:r>
                <a:r>
                  <a:rPr lang="tr-TR" dirty="0">
                    <a:cs typeface="Times New Roman" panose="02020603050405020304" pitchFamily="18" charset="0"/>
                  </a:rPr>
                  <a:t>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tr-TR" i="1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sSupPr>
                      <m:e>
                        <m:r>
                          <a:rPr lang="tr-TR" b="0" i="1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𝐷</m:t>
                        </m:r>
                      </m:e>
                      <m:sup>
                        <m:r>
                          <a:rPr lang="tr-TR" b="0" i="1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[</m:t>
                        </m:r>
                        <m:r>
                          <a:rPr lang="tr-TR" b="0" i="1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𝑙</m:t>
                        </m:r>
                        <m:r>
                          <a:rPr lang="tr-TR" b="0" i="1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]</m:t>
                        </m:r>
                      </m:sup>
                    </m:sSup>
                    <m:r>
                      <a:rPr lang="tr-TR" b="0" i="1" smtClean="0"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=</m:t>
                    </m:r>
                    <m:r>
                      <a:rPr lang="tr-TR" b="0" i="1" smtClean="0"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𝑑𝑖𝑎𝑔</m:t>
                    </m:r>
                    <m:r>
                      <a:rPr lang="tr-TR" b="0" i="1" smtClean="0"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(</m:t>
                    </m:r>
                    <m:r>
                      <a:rPr lang="tr-TR" b="0" i="1" smtClean="0"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h</m:t>
                    </m:r>
                    <m:r>
                      <a:rPr lang="tr-TR" b="0" i="1" smtClean="0"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′(</m:t>
                    </m:r>
                    <m:sSup>
                      <m:sSupPr>
                        <m:ctrlPr>
                          <a:rPr lang="tr-TR" i="1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sSupPr>
                      <m:e>
                        <m:r>
                          <a:rPr lang="tr-TR" i="1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𝑎</m:t>
                        </m:r>
                      </m:e>
                      <m:sup>
                        <m:r>
                          <a:rPr lang="tr-TR" i="1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[</m:t>
                        </m:r>
                        <m:r>
                          <a:rPr lang="tr-TR" i="1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𝑙</m:t>
                        </m:r>
                        <m:r>
                          <a:rPr lang="tr-TR" i="1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]</m:t>
                        </m:r>
                      </m:sup>
                    </m:sSup>
                    <m:r>
                      <a:rPr lang="tr-TR" b="0" i="1" smtClean="0"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))</m:t>
                    </m:r>
                  </m:oMath>
                </a14:m>
                <a:endParaRPr lang="tr-TR" b="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r>
                  <a:rPr lang="tr-TR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	</a:t>
                </a:r>
                <a:r>
                  <a:rPr lang="tr-TR" dirty="0" err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end</a:t>
                </a:r>
                <a:endParaRPr lang="tr-TR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endParaRPr lang="tr-TR" b="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r>
                  <a:rPr lang="tr-TR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	</a:t>
                </a:r>
                <a:r>
                  <a:rPr lang="tr-TR" dirty="0">
                    <a:cs typeface="Times New Roman" panose="02020603050405020304" pitchFamily="18" charset="0"/>
                  </a:rPr>
                  <a:t>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tr-TR" i="1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sSupPr>
                      <m:e>
                        <m:r>
                          <m:rPr>
                            <m:sty m:val="p"/>
                          </m:rPr>
                          <a:rPr lang="el-GR" i="1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δ</m:t>
                        </m:r>
                      </m:e>
                      <m:sup>
                        <m:r>
                          <a:rPr lang="tr-TR" b="0" i="1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[</m:t>
                        </m:r>
                        <m:r>
                          <a:rPr lang="tr-TR" b="0" i="1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𝐿</m:t>
                        </m:r>
                        <m:r>
                          <a:rPr lang="tr-TR" b="0" i="1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]</m:t>
                        </m:r>
                      </m:sup>
                    </m:sSup>
                    <m:r>
                      <a:rPr lang="tr-TR" b="0" i="1" smtClean="0"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=</m:t>
                    </m:r>
                    <m:sSup>
                      <m:sSupPr>
                        <m:ctrlPr>
                          <a:rPr lang="tr-TR" i="1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sSupPr>
                      <m:e>
                        <m:r>
                          <a:rPr lang="tr-TR" i="1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𝐷</m:t>
                        </m:r>
                      </m:e>
                      <m:sup>
                        <m:r>
                          <a:rPr lang="tr-TR" i="1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[</m:t>
                        </m:r>
                        <m:r>
                          <a:rPr lang="tr-TR" b="0" i="1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𝐿</m:t>
                        </m:r>
                        <m:r>
                          <a:rPr lang="tr-TR" i="1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]</m:t>
                        </m:r>
                      </m:sup>
                    </m:sSup>
                  </m:oMath>
                </a14:m>
                <a:r>
                  <a:rPr lang="tr-TR" b="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(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tr-TR" i="1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sSupPr>
                      <m:e>
                        <m:r>
                          <a:rPr lang="tr-TR" b="0" i="1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𝑧</m:t>
                        </m:r>
                      </m:e>
                      <m:sup>
                        <m:r>
                          <a:rPr lang="tr-TR" i="1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[</m:t>
                        </m:r>
                        <m:r>
                          <a:rPr lang="tr-TR" b="0" i="1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𝐿</m:t>
                        </m:r>
                        <m:r>
                          <a:rPr lang="tr-TR" i="1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]</m:t>
                        </m:r>
                      </m:sup>
                    </m:sSup>
                    <m:r>
                      <a:rPr lang="tr-TR" b="0" i="1" smtClean="0"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−</m:t>
                    </m:r>
                  </m:oMath>
                </a14:m>
                <a:r>
                  <a:rPr lang="tr-TR" dirty="0">
                    <a:cs typeface="Times New Roman" panose="02020603050405020304" pitchFamily="18" charset="0"/>
                  </a:rPr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tr-TR" i="1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r>
                          <a:rPr lang="tr-TR" b="0" i="1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𝑦</m:t>
                        </m:r>
                      </m:e>
                      <m:sub>
                        <m:r>
                          <a:rPr lang="tr-TR" i="1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𝑘</m:t>
                        </m:r>
                      </m:sub>
                    </m:sSub>
                  </m:oMath>
                </a14:m>
                <a:r>
                  <a:rPr lang="tr-TR" b="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)</a:t>
                </a:r>
              </a:p>
              <a:p>
                <a:endParaRPr lang="tr-TR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r>
                  <a:rPr lang="tr-TR" b="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	</a:t>
                </a:r>
                <a:r>
                  <a:rPr lang="tr-TR" b="0" dirty="0" err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or</a:t>
                </a:r>
                <a:r>
                  <a:rPr lang="tr-TR" b="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14:m>
                  <m:oMath xmlns:m="http://schemas.openxmlformats.org/officeDocument/2006/math">
                    <m:r>
                      <a:rPr lang="tr-TR" b="0" i="1" smtClean="0"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𝑙</m:t>
                    </m:r>
                    <m:r>
                      <a:rPr lang="tr-TR" b="0" i="1" smtClean="0"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=</m:t>
                    </m:r>
                    <m:r>
                      <a:rPr lang="tr-TR" b="0" i="1" smtClean="0"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𝐿</m:t>
                    </m:r>
                    <m:r>
                      <a:rPr lang="tr-TR" b="0" i="1" smtClean="0"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−1</m:t>
                    </m:r>
                  </m:oMath>
                </a14:m>
                <a:r>
                  <a:rPr lang="tr-TR" b="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down to </a:t>
                </a:r>
                <a:r>
                  <a:rPr lang="tr-TR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2</a:t>
                </a:r>
                <a:endParaRPr lang="tr-TR" b="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r>
                  <a:rPr lang="tr-TR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		</a:t>
                </a:r>
                <a:r>
                  <a:rPr lang="tr-TR" b="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tr-TR" dirty="0">
                    <a:cs typeface="Times New Roman" panose="02020603050405020304" pitchFamily="18" charset="0"/>
                  </a:rPr>
                  <a:t>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tr-TR" i="1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sSupPr>
                      <m:e>
                        <m:r>
                          <m:rPr>
                            <m:sty m:val="p"/>
                          </m:rPr>
                          <a:rPr lang="el-GR" i="1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δ</m:t>
                        </m:r>
                      </m:e>
                      <m:sup>
                        <m:r>
                          <a:rPr lang="tr-TR" b="0" i="1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[</m:t>
                        </m:r>
                        <m:r>
                          <a:rPr lang="tr-TR" b="0" i="1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𝑙</m:t>
                        </m:r>
                        <m:r>
                          <a:rPr lang="tr-TR" b="0" i="1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]</m:t>
                        </m:r>
                      </m:sup>
                    </m:sSup>
                    <m:r>
                      <a:rPr lang="tr-TR" b="0" i="1" smtClean="0"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=</m:t>
                    </m:r>
                    <m:sSup>
                      <m:sSupPr>
                        <m:ctrlPr>
                          <a:rPr lang="tr-TR" i="1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sSupPr>
                      <m:e>
                        <m:r>
                          <a:rPr lang="tr-TR" i="1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𝐷</m:t>
                        </m:r>
                      </m:e>
                      <m:sup>
                        <m:r>
                          <a:rPr lang="tr-TR" i="1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[</m:t>
                        </m:r>
                        <m:r>
                          <a:rPr lang="tr-TR" b="0" i="1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𝑙</m:t>
                        </m:r>
                        <m:r>
                          <a:rPr lang="tr-TR" i="1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]</m:t>
                        </m:r>
                      </m:sup>
                    </m:sSup>
                    <m:sSup>
                      <m:sSupPr>
                        <m:ctrlPr>
                          <a:rPr lang="tr-TR" i="1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sSupPr>
                      <m:e>
                        <m:r>
                          <a:rPr lang="tr-TR" b="0" i="1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(</m:t>
                        </m:r>
                        <m:sSup>
                          <m:sSupPr>
                            <m:ctrlPr>
                              <a:rPr lang="tr-TR" b="0" i="1" smtClean="0">
                                <a:latin typeface="Cambria Math" panose="02040503050406030204" pitchFamily="18" charset="0"/>
                                <a:cs typeface="Times New Roman" panose="02020603050405020304" pitchFamily="18" charset="0"/>
                              </a:rPr>
                            </m:ctrlPr>
                          </m:sSupPr>
                          <m:e>
                            <m:r>
                              <a:rPr lang="tr-TR" b="0" i="1" smtClean="0">
                                <a:latin typeface="Cambria Math" panose="02040503050406030204" pitchFamily="18" charset="0"/>
                                <a:cs typeface="Times New Roman" panose="02020603050405020304" pitchFamily="18" charset="0"/>
                              </a:rPr>
                              <m:t>𝑊</m:t>
                            </m:r>
                          </m:e>
                          <m:sup>
                            <m:r>
                              <a:rPr lang="tr-TR" b="0" i="1" smtClean="0">
                                <a:latin typeface="Cambria Math" panose="02040503050406030204" pitchFamily="18" charset="0"/>
                                <a:cs typeface="Times New Roman" panose="02020603050405020304" pitchFamily="18" charset="0"/>
                              </a:rPr>
                              <m:t>[</m:t>
                            </m:r>
                            <m:r>
                              <a:rPr lang="tr-TR" b="0" i="1" smtClean="0">
                                <a:latin typeface="Cambria Math" panose="02040503050406030204" pitchFamily="18" charset="0"/>
                                <a:cs typeface="Times New Roman" panose="02020603050405020304" pitchFamily="18" charset="0"/>
                              </a:rPr>
                              <m:t>𝑙</m:t>
                            </m:r>
                            <m:r>
                              <a:rPr lang="tr-TR" b="0" i="1" smtClean="0">
                                <a:latin typeface="Cambria Math" panose="02040503050406030204" pitchFamily="18" charset="0"/>
                                <a:cs typeface="Times New Roman" panose="02020603050405020304" pitchFamily="18" charset="0"/>
                              </a:rPr>
                              <m:t>]</m:t>
                            </m:r>
                          </m:sup>
                        </m:sSup>
                        <m:r>
                          <a:rPr lang="tr-TR" b="0" i="1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)</m:t>
                        </m:r>
                      </m:e>
                      <m:sup>
                        <m:r>
                          <a:rPr lang="tr-TR" b="0" i="1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𝑇</m:t>
                        </m:r>
                      </m:sup>
                    </m:sSup>
                    <m:sSup>
                      <m:sSupPr>
                        <m:ctrlPr>
                          <a:rPr lang="tr-TR" i="1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sSupPr>
                      <m:e>
                        <m:r>
                          <m:rPr>
                            <m:sty m:val="p"/>
                          </m:rPr>
                          <a:rPr lang="el-GR" i="1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δ</m:t>
                        </m:r>
                      </m:e>
                      <m:sup>
                        <m:r>
                          <a:rPr lang="tr-TR" i="1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[</m:t>
                        </m:r>
                        <m:r>
                          <a:rPr lang="tr-TR" b="0" i="1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𝑙</m:t>
                        </m:r>
                        <m:r>
                          <a:rPr lang="tr-TR" b="0" i="1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+1]</m:t>
                        </m:r>
                      </m:sup>
                    </m:sSup>
                  </m:oMath>
                </a14:m>
                <a:endParaRPr lang="tr-TR" dirty="0">
                  <a:cs typeface="Times New Roman" panose="02020603050405020304" pitchFamily="18" charset="0"/>
                </a:endParaRPr>
              </a:p>
              <a:p>
                <a:r>
                  <a:rPr lang="tr-TR" b="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	</a:t>
                </a:r>
                <a:r>
                  <a:rPr lang="tr-TR" b="0" dirty="0" err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end</a:t>
                </a:r>
                <a:endParaRPr lang="tr-TR" b="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endParaRPr lang="tr-TR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r>
                  <a:rPr lang="tr-TR" b="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	</a:t>
                </a:r>
                <a:r>
                  <a:rPr lang="tr-TR" b="0" dirty="0" err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or</a:t>
                </a:r>
                <a:r>
                  <a:rPr lang="tr-TR" b="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14:m>
                  <m:oMath xmlns:m="http://schemas.openxmlformats.org/officeDocument/2006/math">
                    <m:r>
                      <a:rPr lang="tr-TR" b="0" i="1" smtClean="0"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𝑙</m:t>
                    </m:r>
                    <m:r>
                      <a:rPr lang="tr-TR" b="0" i="1" smtClean="0"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=</m:t>
                    </m:r>
                    <m:r>
                      <a:rPr lang="tr-TR" b="0" i="1" smtClean="0"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𝐿</m:t>
                    </m:r>
                    <m:r>
                      <a:rPr lang="tr-TR" b="0" i="1" smtClean="0"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−1</m:t>
                    </m:r>
                  </m:oMath>
                </a14:m>
                <a:r>
                  <a:rPr lang="tr-TR" b="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down to 1</a:t>
                </a:r>
              </a:p>
              <a:p>
                <a:r>
                  <a:rPr lang="tr-TR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		</a:t>
                </a:r>
                <a:r>
                  <a:rPr lang="tr-TR" b="0" dirty="0">
                    <a:cs typeface="Times New Roman" panose="02020603050405020304" pitchFamily="18" charset="0"/>
                  </a:rPr>
                  <a:t>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tr-TR" b="0" i="1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sSupPr>
                      <m:e>
                        <m:r>
                          <a:rPr lang="tr-TR" b="0" i="1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𝑊</m:t>
                        </m:r>
                      </m:e>
                      <m:sup>
                        <m:r>
                          <a:rPr lang="tr-TR" b="0" i="1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[</m:t>
                        </m:r>
                        <m:r>
                          <a:rPr lang="tr-TR" b="0" i="1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𝑙</m:t>
                        </m:r>
                        <m:r>
                          <a:rPr lang="tr-TR" b="0" i="1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]</m:t>
                        </m:r>
                      </m:sup>
                    </m:sSup>
                    <m:r>
                      <a:rPr lang="tr-TR" b="0" i="1" smtClean="0"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=</m:t>
                    </m:r>
                    <m:sSup>
                      <m:sSupPr>
                        <m:ctrlPr>
                          <a:rPr lang="tr-TR" i="1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sSupPr>
                      <m:e>
                        <m:r>
                          <a:rPr lang="tr-TR" i="1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𝑊</m:t>
                        </m:r>
                      </m:e>
                      <m:sup>
                        <m:r>
                          <a:rPr lang="tr-TR" i="1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[</m:t>
                        </m:r>
                        <m:r>
                          <a:rPr lang="tr-TR" i="1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𝑙</m:t>
                        </m:r>
                        <m:r>
                          <a:rPr lang="tr-TR" i="1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]</m:t>
                        </m:r>
                      </m:sup>
                    </m:sSup>
                    <m:r>
                      <a:rPr lang="tr-TR" b="0" i="1" smtClean="0"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−</m:t>
                    </m:r>
                    <m:r>
                      <m:rPr>
                        <m:sty m:val="p"/>
                      </m:rPr>
                      <a:rPr lang="el-GR" b="0" i="1" smtClean="0"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η</m:t>
                    </m:r>
                    <m:sSup>
                      <m:sSupPr>
                        <m:ctrlPr>
                          <a:rPr lang="tr-TR" i="1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sSupPr>
                      <m:e>
                        <m:r>
                          <m:rPr>
                            <m:sty m:val="p"/>
                          </m:rPr>
                          <a:rPr lang="el-GR" i="1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δ</m:t>
                        </m:r>
                      </m:e>
                      <m:sup>
                        <m:d>
                          <m:dPr>
                            <m:begChr m:val="["/>
                            <m:endChr m:val="]"/>
                            <m:ctrlPr>
                              <a:rPr lang="tr-TR" i="1">
                                <a:latin typeface="Cambria Math" panose="02040503050406030204" pitchFamily="18" charset="0"/>
                                <a:cs typeface="Times New Roman" panose="02020603050405020304" pitchFamily="18" charset="0"/>
                              </a:rPr>
                            </m:ctrlPr>
                          </m:dPr>
                          <m:e>
                            <m:r>
                              <a:rPr lang="tr-TR" i="1">
                                <a:latin typeface="Cambria Math" panose="02040503050406030204" pitchFamily="18" charset="0"/>
                                <a:cs typeface="Times New Roman" panose="02020603050405020304" pitchFamily="18" charset="0"/>
                              </a:rPr>
                              <m:t>𝑙</m:t>
                            </m:r>
                          </m:e>
                        </m:d>
                      </m:sup>
                    </m:sSup>
                    <m:sSup>
                      <m:sSupPr>
                        <m:ctrlPr>
                          <a:rPr lang="tr-TR" i="1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sSupPr>
                      <m:e>
                        <m:sSup>
                          <m:sSupPr>
                            <m:ctrlPr>
                              <a:rPr lang="tr-TR" i="1">
                                <a:latin typeface="Cambria Math" panose="02040503050406030204" pitchFamily="18" charset="0"/>
                                <a:cs typeface="Times New Roman" panose="02020603050405020304" pitchFamily="18" charset="0"/>
                              </a:rPr>
                            </m:ctrlPr>
                          </m:sSupPr>
                          <m:e>
                            <m:r>
                              <a:rPr lang="tr-TR" i="1">
                                <a:latin typeface="Cambria Math" panose="02040503050406030204" pitchFamily="18" charset="0"/>
                                <a:cs typeface="Times New Roman" panose="02020603050405020304" pitchFamily="18" charset="0"/>
                              </a:rPr>
                              <m:t>𝑎</m:t>
                            </m:r>
                          </m:e>
                          <m:sup>
                            <m:d>
                              <m:dPr>
                                <m:begChr m:val="["/>
                                <m:endChr m:val="]"/>
                                <m:ctrlPr>
                                  <a:rPr lang="tr-TR" i="1">
                                    <a:latin typeface="Cambria Math" panose="02040503050406030204" pitchFamily="18" charset="0"/>
                                    <a:cs typeface="Times New Roman" panose="020206030504050203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tr-TR" i="1">
                                    <a:latin typeface="Cambria Math" panose="02040503050406030204" pitchFamily="18" charset="0"/>
                                    <a:cs typeface="Times New Roman" panose="02020603050405020304" pitchFamily="18" charset="0"/>
                                  </a:rPr>
                                  <m:t>𝑙</m:t>
                                </m:r>
                                <m:r>
                                  <a:rPr lang="tr-TR" i="1">
                                    <a:latin typeface="Cambria Math" panose="02040503050406030204" pitchFamily="18" charset="0"/>
                                    <a:cs typeface="Times New Roman" panose="02020603050405020304" pitchFamily="18" charset="0"/>
                                  </a:rPr>
                                  <m:t>−1</m:t>
                                </m:r>
                              </m:e>
                            </m:d>
                          </m:sup>
                        </m:sSup>
                      </m:e>
                      <m:sup>
                        <m:r>
                          <a:rPr lang="tr-TR" b="0" i="1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𝑇</m:t>
                        </m:r>
                      </m:sup>
                    </m:sSup>
                  </m:oMath>
                </a14:m>
                <a:endParaRPr lang="tr-TR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r>
                  <a:rPr lang="tr-TR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	</a:t>
                </a:r>
                <a:r>
                  <a:rPr lang="tr-TR" dirty="0" err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end</a:t>
                </a:r>
                <a:endParaRPr lang="tr-TR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r>
                  <a:rPr lang="tr-TR" dirty="0" err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end</a:t>
                </a:r>
                <a:r>
                  <a:rPr lang="tr-TR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	</a:t>
                </a:r>
                <a:r>
                  <a:rPr lang="tr-TR" b="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</a:p>
            </p:txBody>
          </p:sp>
        </mc:Choice>
        <mc:Fallback>
          <p:sp>
            <p:nvSpPr>
              <p:cNvPr id="2" name="TextBox 1">
                <a:extLst>
                  <a:ext uri="{FF2B5EF4-FFF2-40B4-BE49-F238E27FC236}">
                    <a16:creationId xmlns:a16="http://schemas.microsoft.com/office/drawing/2014/main" id="{E9426E38-A210-1705-92F9-16FC25AC84B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93523" y="165147"/>
                <a:ext cx="6711432" cy="6330900"/>
              </a:xfrm>
              <a:prstGeom prst="rect">
                <a:avLst/>
              </a:prstGeom>
              <a:blipFill>
                <a:blip r:embed="rId4"/>
                <a:stretch>
                  <a:fillRect l="-817" t="-481" b="-577"/>
                </a:stretch>
              </a:blipFill>
            </p:spPr>
            <p:txBody>
              <a:bodyPr/>
              <a:lstStyle/>
              <a:p>
                <a:r>
                  <a:rPr lang="tr-TR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4" name="Picture 3">
            <a:extLst>
              <a:ext uri="{FF2B5EF4-FFF2-40B4-BE49-F238E27FC236}">
                <a16:creationId xmlns:a16="http://schemas.microsoft.com/office/drawing/2014/main" id="{0EC6B225-89BC-83C5-66F7-493FFC9C419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0570" y="701335"/>
            <a:ext cx="4780991" cy="2970561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3DF2F00C-AC72-95F9-4571-DC0C14E2351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657423" y="3757580"/>
            <a:ext cx="1867283" cy="265278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62422836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9" end="1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0" end="2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1" end="2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E6EF2DD4-1428-4F29-BED0-012580DEB727}"/>
              </a:ext>
            </a:extLst>
          </p:cNvPr>
          <p:cNvGrpSpPr/>
          <p:nvPr/>
        </p:nvGrpSpPr>
        <p:grpSpPr>
          <a:xfrm>
            <a:off x="1" y="6496048"/>
            <a:ext cx="12192000" cy="381103"/>
            <a:chOff x="-1" y="6496048"/>
            <a:chExt cx="12192001" cy="361952"/>
          </a:xfrm>
        </p:grpSpPr>
        <p:sp>
          <p:nvSpPr>
            <p:cNvPr id="17" name="Dikdörtgen 10">
              <a:extLst>
                <a:ext uri="{FF2B5EF4-FFF2-40B4-BE49-F238E27FC236}">
                  <a16:creationId xmlns:a16="http://schemas.microsoft.com/office/drawing/2014/main" id="{C14596DF-271A-400A-B0AE-693FCDF2F217}"/>
                </a:ext>
              </a:extLst>
            </p:cNvPr>
            <p:cNvSpPr/>
            <p:nvPr/>
          </p:nvSpPr>
          <p:spPr>
            <a:xfrm>
              <a:off x="10115547" y="6496049"/>
              <a:ext cx="2076453" cy="361951"/>
            </a:xfrm>
            <a:prstGeom prst="rect">
              <a:avLst/>
            </a:prstGeom>
            <a:solidFill>
              <a:srgbClr val="2198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dirty="0"/>
                <a:t>   Özgür Martin</a:t>
              </a:r>
            </a:p>
          </p:txBody>
        </p:sp>
        <p:sp>
          <p:nvSpPr>
            <p:cNvPr id="18" name="Dikdörtgen 10">
              <a:extLst>
                <a:ext uri="{FF2B5EF4-FFF2-40B4-BE49-F238E27FC236}">
                  <a16:creationId xmlns:a16="http://schemas.microsoft.com/office/drawing/2014/main" id="{84A5B1F6-64B9-4792-8088-33FD44F5342F}"/>
                </a:ext>
              </a:extLst>
            </p:cNvPr>
            <p:cNvSpPr/>
            <p:nvPr/>
          </p:nvSpPr>
          <p:spPr>
            <a:xfrm>
              <a:off x="-1" y="6496048"/>
              <a:ext cx="10151743" cy="361952"/>
            </a:xfrm>
            <a:prstGeom prst="rect">
              <a:avLst/>
            </a:prstGeom>
            <a:solidFill>
              <a:srgbClr val="2198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altLang="ko-KR" dirty="0" err="1">
                  <a:solidFill>
                    <a:schemeClr val="bg1"/>
                  </a:solidFill>
                  <a:cs typeface="Arial" pitchFamily="34" charset="0"/>
                </a:rPr>
                <a:t>Neural</a:t>
              </a:r>
              <a:r>
                <a:rPr lang="tr-TR" altLang="ko-KR" dirty="0">
                  <a:solidFill>
                    <a:schemeClr val="bg1"/>
                  </a:solidFill>
                  <a:cs typeface="Arial" pitchFamily="34" charset="0"/>
                </a:rPr>
                <a:t> Networks</a:t>
              </a: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6B0E2C6A-CE16-B84E-7AB6-08F5579221B8}"/>
              </a:ext>
            </a:extLst>
          </p:cNvPr>
          <p:cNvSpPr txBox="1"/>
          <p:nvPr/>
        </p:nvSpPr>
        <p:spPr>
          <a:xfrm>
            <a:off x="255198" y="244522"/>
            <a:ext cx="253880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etwork Training</a:t>
            </a:r>
          </a:p>
          <a:p>
            <a:r>
              <a:rPr lang="en-US" sz="14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D vs. SGD</a:t>
            </a:r>
            <a:endParaRPr lang="en-US" sz="1400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171C95FD-B851-7765-E60A-8BD7EC281DD1}"/>
              </a:ext>
            </a:extLst>
          </p:cNvPr>
          <p:cNvGrpSpPr/>
          <p:nvPr/>
        </p:nvGrpSpPr>
        <p:grpSpPr>
          <a:xfrm>
            <a:off x="2718769" y="1834237"/>
            <a:ext cx="2968642" cy="2540538"/>
            <a:chOff x="2219741" y="2256791"/>
            <a:chExt cx="3395144" cy="2572387"/>
          </a:xfrm>
        </p:grpSpPr>
        <p:sp>
          <p:nvSpPr>
            <p:cNvPr id="4" name="Oval 3">
              <a:extLst>
                <a:ext uri="{FF2B5EF4-FFF2-40B4-BE49-F238E27FC236}">
                  <a16:creationId xmlns:a16="http://schemas.microsoft.com/office/drawing/2014/main" id="{5B65AD63-1B00-F0A2-DA4D-E3DDF5F0EFF3}"/>
                </a:ext>
              </a:extLst>
            </p:cNvPr>
            <p:cNvSpPr/>
            <p:nvPr/>
          </p:nvSpPr>
          <p:spPr>
            <a:xfrm>
              <a:off x="2438040" y="2482842"/>
              <a:ext cx="2928551" cy="2060489"/>
            </a:xfrm>
            <a:prstGeom prst="ellipse">
              <a:avLst/>
            </a:pr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F0B7BAC8-63FC-B5D6-08DC-E68C4E8CBE57}"/>
                </a:ext>
              </a:extLst>
            </p:cNvPr>
            <p:cNvSpPr/>
            <p:nvPr/>
          </p:nvSpPr>
          <p:spPr>
            <a:xfrm>
              <a:off x="2733316" y="2678105"/>
              <a:ext cx="2322428" cy="1679575"/>
            </a:xfrm>
            <a:prstGeom prst="ellipse">
              <a:avLst/>
            </a:pr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5215F2CD-BE31-6B12-18DE-1B0D75A76BD5}"/>
                </a:ext>
              </a:extLst>
            </p:cNvPr>
            <p:cNvSpPr/>
            <p:nvPr/>
          </p:nvSpPr>
          <p:spPr>
            <a:xfrm>
              <a:off x="2960176" y="2870942"/>
              <a:ext cx="1884277" cy="1284287"/>
            </a:xfrm>
            <a:prstGeom prst="ellipse">
              <a:avLst/>
            </a:pr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46523B3E-33AA-DC8C-FB60-F692C9EC68BE}"/>
                </a:ext>
              </a:extLst>
            </p:cNvPr>
            <p:cNvSpPr/>
            <p:nvPr/>
          </p:nvSpPr>
          <p:spPr>
            <a:xfrm>
              <a:off x="3155439" y="3043229"/>
              <a:ext cx="1485967" cy="962862"/>
            </a:xfrm>
            <a:prstGeom prst="ellipse">
              <a:avLst/>
            </a:pr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82926F12-F842-8A4F-3F09-01926EAF6611}"/>
                </a:ext>
              </a:extLst>
            </p:cNvPr>
            <p:cNvSpPr/>
            <p:nvPr/>
          </p:nvSpPr>
          <p:spPr>
            <a:xfrm>
              <a:off x="3402828" y="3164672"/>
              <a:ext cx="995691" cy="721519"/>
            </a:xfrm>
            <a:prstGeom prst="ellipse">
              <a:avLst/>
            </a:pr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DDA7474D-3753-205D-DF5D-0D5A9A08364F}"/>
                </a:ext>
              </a:extLst>
            </p:cNvPr>
            <p:cNvSpPr/>
            <p:nvPr/>
          </p:nvSpPr>
          <p:spPr>
            <a:xfrm>
              <a:off x="3601472" y="3314647"/>
              <a:ext cx="586115" cy="442913"/>
            </a:xfrm>
            <a:prstGeom prst="ellipse">
              <a:avLst/>
            </a:pr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cxnSp>
          <p:nvCxnSpPr>
            <p:cNvPr id="12" name="Straight Arrow Connector 11">
              <a:extLst>
                <a:ext uri="{FF2B5EF4-FFF2-40B4-BE49-F238E27FC236}">
                  <a16:creationId xmlns:a16="http://schemas.microsoft.com/office/drawing/2014/main" id="{9590E726-4E81-3F8A-0F05-85EC7914508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633303" y="3755884"/>
              <a:ext cx="311204" cy="301934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32102598-C00D-098D-E0C6-03A867082B7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944148" y="3643304"/>
              <a:ext cx="267095" cy="112581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4" name="Straight Arrow Connector 13">
              <a:extLst>
                <a:ext uri="{FF2B5EF4-FFF2-40B4-BE49-F238E27FC236}">
                  <a16:creationId xmlns:a16="http://schemas.microsoft.com/office/drawing/2014/main" id="{31B82343-206D-30E0-7A24-2D6D201C823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211243" y="3579958"/>
              <a:ext cx="225413" cy="63346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5" name="Straight Arrow Connector 14">
              <a:extLst>
                <a:ext uri="{FF2B5EF4-FFF2-40B4-BE49-F238E27FC236}">
                  <a16:creationId xmlns:a16="http://schemas.microsoft.com/office/drawing/2014/main" id="{A648EF02-A79A-08B7-A134-EDB700D4B86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390181" y="3536352"/>
              <a:ext cx="218944" cy="79980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9" name="Straight Arrow Connector 18">
              <a:extLst>
                <a:ext uri="{FF2B5EF4-FFF2-40B4-BE49-F238E27FC236}">
                  <a16:creationId xmlns:a16="http://schemas.microsoft.com/office/drawing/2014/main" id="{3E9AAA6E-0963-F4D1-E402-5C89205E36CF}"/>
                </a:ext>
              </a:extLst>
            </p:cNvPr>
            <p:cNvCxnSpPr>
              <a:cxnSpLocks/>
              <a:stCxn id="11" idx="2"/>
            </p:cNvCxnSpPr>
            <p:nvPr/>
          </p:nvCxnSpPr>
          <p:spPr>
            <a:xfrm flipV="1">
              <a:off x="3601472" y="3513085"/>
              <a:ext cx="206297" cy="23019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0D0230BF-C49C-3658-7C6D-6BC68548E3CC}"/>
                </a:ext>
              </a:extLst>
            </p:cNvPr>
            <p:cNvSpPr/>
            <p:nvPr/>
          </p:nvSpPr>
          <p:spPr>
            <a:xfrm>
              <a:off x="2219741" y="2256791"/>
              <a:ext cx="3395144" cy="2572387"/>
            </a:xfrm>
            <a:prstGeom prst="ellipse">
              <a:avLst/>
            </a:pr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cxnSp>
          <p:nvCxnSpPr>
            <p:cNvPr id="21" name="Straight Arrow Connector 20">
              <a:extLst>
                <a:ext uri="{FF2B5EF4-FFF2-40B4-BE49-F238E27FC236}">
                  <a16:creationId xmlns:a16="http://schemas.microsoft.com/office/drawing/2014/main" id="{C838CF92-EED5-2513-A03E-651225D5D58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278884" y="4057818"/>
              <a:ext cx="370445" cy="419384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D3B024AD-2796-2135-B344-182798EED5D0}"/>
              </a:ext>
            </a:extLst>
          </p:cNvPr>
          <p:cNvGrpSpPr/>
          <p:nvPr/>
        </p:nvGrpSpPr>
        <p:grpSpPr>
          <a:xfrm>
            <a:off x="6504644" y="1834236"/>
            <a:ext cx="3170473" cy="2540538"/>
            <a:chOff x="6666017" y="2235332"/>
            <a:chExt cx="3453371" cy="2572387"/>
          </a:xfrm>
        </p:grpSpPr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3A88DE5A-1BE0-8043-BCE1-6E9BA70EFB01}"/>
                </a:ext>
              </a:extLst>
            </p:cNvPr>
            <p:cNvSpPr/>
            <p:nvPr/>
          </p:nvSpPr>
          <p:spPr>
            <a:xfrm>
              <a:off x="6948695" y="2506651"/>
              <a:ext cx="2928551" cy="2060489"/>
            </a:xfrm>
            <a:prstGeom prst="ellipse">
              <a:avLst/>
            </a:pr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223B703D-19F7-8BEE-EC8D-502E2E07715A}"/>
                </a:ext>
              </a:extLst>
            </p:cNvPr>
            <p:cNvSpPr/>
            <p:nvPr/>
          </p:nvSpPr>
          <p:spPr>
            <a:xfrm>
              <a:off x="7243971" y="2701914"/>
              <a:ext cx="2322428" cy="1679575"/>
            </a:xfrm>
            <a:prstGeom prst="ellipse">
              <a:avLst/>
            </a:pr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6762A560-CF75-CD65-6BAA-8D2A730F18CB}"/>
                </a:ext>
              </a:extLst>
            </p:cNvPr>
            <p:cNvSpPr/>
            <p:nvPr/>
          </p:nvSpPr>
          <p:spPr>
            <a:xfrm>
              <a:off x="7470831" y="2894751"/>
              <a:ext cx="1884277" cy="1284287"/>
            </a:xfrm>
            <a:prstGeom prst="ellipse">
              <a:avLst/>
            </a:pr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47BC80D7-CE3C-1921-79FE-189A087ABF16}"/>
                </a:ext>
              </a:extLst>
            </p:cNvPr>
            <p:cNvSpPr/>
            <p:nvPr/>
          </p:nvSpPr>
          <p:spPr>
            <a:xfrm>
              <a:off x="7666094" y="3067038"/>
              <a:ext cx="1485967" cy="962862"/>
            </a:xfrm>
            <a:prstGeom prst="ellipse">
              <a:avLst/>
            </a:pr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855A3765-4119-A3B6-95A8-2B504EAE2DD1}"/>
                </a:ext>
              </a:extLst>
            </p:cNvPr>
            <p:cNvSpPr/>
            <p:nvPr/>
          </p:nvSpPr>
          <p:spPr>
            <a:xfrm>
              <a:off x="7913483" y="3188481"/>
              <a:ext cx="995691" cy="721519"/>
            </a:xfrm>
            <a:prstGeom prst="ellipse">
              <a:avLst/>
            </a:pr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DDC756BA-0757-DE3A-7AD3-6555B0CBA233}"/>
                </a:ext>
              </a:extLst>
            </p:cNvPr>
            <p:cNvSpPr/>
            <p:nvPr/>
          </p:nvSpPr>
          <p:spPr>
            <a:xfrm>
              <a:off x="8112127" y="3338456"/>
              <a:ext cx="586115" cy="442913"/>
            </a:xfrm>
            <a:prstGeom prst="ellipse">
              <a:avLst/>
            </a:pr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cxnSp>
          <p:nvCxnSpPr>
            <p:cNvPr id="29" name="Straight Arrow Connector 28">
              <a:extLst>
                <a:ext uri="{FF2B5EF4-FFF2-40B4-BE49-F238E27FC236}">
                  <a16:creationId xmlns:a16="http://schemas.microsoft.com/office/drawing/2014/main" id="{1BD1C26C-2CA4-07E5-4BEB-DC24BDD4F16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113412" y="3559705"/>
              <a:ext cx="261118" cy="681252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0" name="Straight Arrow Connector 29">
              <a:extLst>
                <a:ext uri="{FF2B5EF4-FFF2-40B4-BE49-F238E27FC236}">
                  <a16:creationId xmlns:a16="http://schemas.microsoft.com/office/drawing/2014/main" id="{E063BAFA-4362-BE53-EB80-3CD658423379}"/>
                </a:ext>
              </a:extLst>
            </p:cNvPr>
            <p:cNvCxnSpPr>
              <a:cxnSpLocks/>
            </p:cNvCxnSpPr>
            <p:nvPr/>
          </p:nvCxnSpPr>
          <p:spPr>
            <a:xfrm>
              <a:off x="7373036" y="3621831"/>
              <a:ext cx="359273" cy="219781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1" name="Straight Arrow Connector 30">
              <a:extLst>
                <a:ext uri="{FF2B5EF4-FFF2-40B4-BE49-F238E27FC236}">
                  <a16:creationId xmlns:a16="http://schemas.microsoft.com/office/drawing/2014/main" id="{37387446-5A73-BD09-F0FB-EB5216AA78C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685365" y="3330386"/>
              <a:ext cx="242207" cy="511227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2" name="Straight Arrow Connector 31">
              <a:extLst>
                <a:ext uri="{FF2B5EF4-FFF2-40B4-BE49-F238E27FC236}">
                  <a16:creationId xmlns:a16="http://schemas.microsoft.com/office/drawing/2014/main" id="{FD722A62-107A-7632-0365-9E83CC12356F}"/>
                </a:ext>
              </a:extLst>
            </p:cNvPr>
            <p:cNvCxnSpPr>
              <a:cxnSpLocks/>
              <a:endCxn id="28" idx="3"/>
            </p:cNvCxnSpPr>
            <p:nvPr/>
          </p:nvCxnSpPr>
          <p:spPr>
            <a:xfrm>
              <a:off x="7939543" y="3365230"/>
              <a:ext cx="258419" cy="351276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3" name="Straight Arrow Connector 32">
              <a:extLst>
                <a:ext uri="{FF2B5EF4-FFF2-40B4-BE49-F238E27FC236}">
                  <a16:creationId xmlns:a16="http://schemas.microsoft.com/office/drawing/2014/main" id="{CBA1F346-B344-3A17-5F3A-650507105934}"/>
                </a:ext>
              </a:extLst>
            </p:cNvPr>
            <p:cNvCxnSpPr>
              <a:cxnSpLocks/>
              <a:stCxn id="28" idx="3"/>
            </p:cNvCxnSpPr>
            <p:nvPr/>
          </p:nvCxnSpPr>
          <p:spPr>
            <a:xfrm flipV="1">
              <a:off x="8197962" y="3461333"/>
              <a:ext cx="226860" cy="255173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4" name="Straight Arrow Connector 33">
              <a:extLst>
                <a:ext uri="{FF2B5EF4-FFF2-40B4-BE49-F238E27FC236}">
                  <a16:creationId xmlns:a16="http://schemas.microsoft.com/office/drawing/2014/main" id="{D9D486B0-5436-40B8-6B84-B566B7C42563}"/>
                </a:ext>
              </a:extLst>
            </p:cNvPr>
            <p:cNvCxnSpPr>
              <a:cxnSpLocks/>
              <a:endCxn id="28" idx="5"/>
            </p:cNvCxnSpPr>
            <p:nvPr/>
          </p:nvCxnSpPr>
          <p:spPr>
            <a:xfrm>
              <a:off x="8424822" y="3536894"/>
              <a:ext cx="187585" cy="179612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5" name="Straight Arrow Connector 34">
              <a:extLst>
                <a:ext uri="{FF2B5EF4-FFF2-40B4-BE49-F238E27FC236}">
                  <a16:creationId xmlns:a16="http://schemas.microsoft.com/office/drawing/2014/main" id="{6750606F-53F8-9F50-72B2-560D1375A9F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552065" y="3482735"/>
              <a:ext cx="226860" cy="255173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6" name="Straight Arrow Connector 35">
              <a:extLst>
                <a:ext uri="{FF2B5EF4-FFF2-40B4-BE49-F238E27FC236}">
                  <a16:creationId xmlns:a16="http://schemas.microsoft.com/office/drawing/2014/main" id="{85223C02-7A73-3BF8-100E-BA07A80F85C4}"/>
                </a:ext>
              </a:extLst>
            </p:cNvPr>
            <p:cNvCxnSpPr>
              <a:cxnSpLocks/>
              <a:stCxn id="28" idx="6"/>
            </p:cNvCxnSpPr>
            <p:nvPr/>
          </p:nvCxnSpPr>
          <p:spPr>
            <a:xfrm flipH="1" flipV="1">
              <a:off x="8518614" y="3515492"/>
              <a:ext cx="179628" cy="44421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7" name="Straight Arrow Connector 36">
              <a:extLst>
                <a:ext uri="{FF2B5EF4-FFF2-40B4-BE49-F238E27FC236}">
                  <a16:creationId xmlns:a16="http://schemas.microsoft.com/office/drawing/2014/main" id="{1B43A7BF-04C2-3530-945E-59FE4D892C87}"/>
                </a:ext>
              </a:extLst>
            </p:cNvPr>
            <p:cNvCxnSpPr>
              <a:cxnSpLocks/>
              <a:endCxn id="28" idx="4"/>
            </p:cNvCxnSpPr>
            <p:nvPr/>
          </p:nvCxnSpPr>
          <p:spPr>
            <a:xfrm flipH="1">
              <a:off x="8405185" y="3515492"/>
              <a:ext cx="146880" cy="265877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8" name="Straight Arrow Connector 37">
              <a:extLst>
                <a:ext uri="{FF2B5EF4-FFF2-40B4-BE49-F238E27FC236}">
                  <a16:creationId xmlns:a16="http://schemas.microsoft.com/office/drawing/2014/main" id="{B3A4E340-73ED-FC76-5D0F-23E48461052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421816" y="3439274"/>
              <a:ext cx="69204" cy="287126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7F64502E-65A4-0E78-B7B9-109A13D2C76C}"/>
                </a:ext>
              </a:extLst>
            </p:cNvPr>
            <p:cNvSpPr/>
            <p:nvPr/>
          </p:nvSpPr>
          <p:spPr>
            <a:xfrm>
              <a:off x="6724244" y="2235332"/>
              <a:ext cx="3395144" cy="2572387"/>
            </a:xfrm>
            <a:prstGeom prst="ellipse">
              <a:avLst/>
            </a:pr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cxnSp>
          <p:nvCxnSpPr>
            <p:cNvPr id="40" name="Straight Arrow Connector 39">
              <a:extLst>
                <a:ext uri="{FF2B5EF4-FFF2-40B4-BE49-F238E27FC236}">
                  <a16:creationId xmlns:a16="http://schemas.microsoft.com/office/drawing/2014/main" id="{F1FBE510-541E-E7D9-E296-9854E7443C8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666017" y="4240957"/>
              <a:ext cx="447395" cy="116724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41" name="Straight Arrow Connector 40">
              <a:extLst>
                <a:ext uri="{FF2B5EF4-FFF2-40B4-BE49-F238E27FC236}">
                  <a16:creationId xmlns:a16="http://schemas.microsoft.com/office/drawing/2014/main" id="{3AE4D3A2-CA81-9A21-0DA5-91C9E690D55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312727" y="3439274"/>
              <a:ext cx="178294" cy="277232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42" name="Straight Arrow Connector 41">
              <a:extLst>
                <a:ext uri="{FF2B5EF4-FFF2-40B4-BE49-F238E27FC236}">
                  <a16:creationId xmlns:a16="http://schemas.microsoft.com/office/drawing/2014/main" id="{D38206F6-4E0E-413E-5ACD-E4BE6F3AA527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8197962" y="3482735"/>
              <a:ext cx="114765" cy="160569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</p:grpSp>
      <p:sp>
        <p:nvSpPr>
          <p:cNvPr id="43" name="TextBox 42">
            <a:extLst>
              <a:ext uri="{FF2B5EF4-FFF2-40B4-BE49-F238E27FC236}">
                <a16:creationId xmlns:a16="http://schemas.microsoft.com/office/drawing/2014/main" id="{B3E56543-9357-4706-A36F-A7CBA82DA0AE}"/>
              </a:ext>
            </a:extLst>
          </p:cNvPr>
          <p:cNvSpPr txBox="1"/>
          <p:nvPr/>
        </p:nvSpPr>
        <p:spPr>
          <a:xfrm>
            <a:off x="3298009" y="4633255"/>
            <a:ext cx="143821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radient Descent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9DFD9F7E-B2CF-3070-3FA7-AD778516558A}"/>
              </a:ext>
            </a:extLst>
          </p:cNvPr>
          <p:cNvSpPr txBox="1"/>
          <p:nvPr/>
        </p:nvSpPr>
        <p:spPr>
          <a:xfrm>
            <a:off x="7037334" y="4633255"/>
            <a:ext cx="222208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tochastic Gradient Descent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97B030D5-2021-7101-3F96-910F644EE0E6}"/>
              </a:ext>
            </a:extLst>
          </p:cNvPr>
          <p:cNvSpPr/>
          <p:nvPr/>
        </p:nvSpPr>
        <p:spPr>
          <a:xfrm>
            <a:off x="6331422" y="1615075"/>
            <a:ext cx="3555144" cy="2888940"/>
          </a:xfrm>
          <a:prstGeom prst="rect">
            <a:avLst/>
          </a:prstGeom>
          <a:noFill/>
          <a:ln>
            <a:solidFill>
              <a:srgbClr val="C00000"/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D28AC86D-CF45-0A36-7E83-F2A17C603EDD}"/>
              </a:ext>
            </a:extLst>
          </p:cNvPr>
          <p:cNvSpPr/>
          <p:nvPr/>
        </p:nvSpPr>
        <p:spPr>
          <a:xfrm>
            <a:off x="2397374" y="1615075"/>
            <a:ext cx="3555144" cy="2888940"/>
          </a:xfrm>
          <a:prstGeom prst="rect">
            <a:avLst/>
          </a:prstGeom>
          <a:noFill/>
          <a:ln>
            <a:solidFill>
              <a:srgbClr val="C00000"/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47" name="Picture 46">
            <a:extLst>
              <a:ext uri="{FF2B5EF4-FFF2-40B4-BE49-F238E27FC236}">
                <a16:creationId xmlns:a16="http://schemas.microsoft.com/office/drawing/2014/main" id="{826EC352-D49B-2758-21C6-FBE902C4EC2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32436" y="5515852"/>
            <a:ext cx="6729730" cy="8001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3083586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E6EF2DD4-1428-4F29-BED0-012580DEB727}"/>
              </a:ext>
            </a:extLst>
          </p:cNvPr>
          <p:cNvGrpSpPr/>
          <p:nvPr/>
        </p:nvGrpSpPr>
        <p:grpSpPr>
          <a:xfrm>
            <a:off x="1" y="6496048"/>
            <a:ext cx="12192000" cy="381103"/>
            <a:chOff x="-1" y="6496048"/>
            <a:chExt cx="12192001" cy="361952"/>
          </a:xfrm>
        </p:grpSpPr>
        <p:sp>
          <p:nvSpPr>
            <p:cNvPr id="17" name="Dikdörtgen 10">
              <a:extLst>
                <a:ext uri="{FF2B5EF4-FFF2-40B4-BE49-F238E27FC236}">
                  <a16:creationId xmlns:a16="http://schemas.microsoft.com/office/drawing/2014/main" id="{C14596DF-271A-400A-B0AE-693FCDF2F217}"/>
                </a:ext>
              </a:extLst>
            </p:cNvPr>
            <p:cNvSpPr/>
            <p:nvPr/>
          </p:nvSpPr>
          <p:spPr>
            <a:xfrm>
              <a:off x="10115547" y="6496049"/>
              <a:ext cx="2076453" cy="361951"/>
            </a:xfrm>
            <a:prstGeom prst="rect">
              <a:avLst/>
            </a:prstGeom>
            <a:solidFill>
              <a:srgbClr val="2198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dirty="0"/>
                <a:t>   Özgür Martin</a:t>
              </a:r>
            </a:p>
          </p:txBody>
        </p:sp>
        <p:sp>
          <p:nvSpPr>
            <p:cNvPr id="18" name="Dikdörtgen 10">
              <a:extLst>
                <a:ext uri="{FF2B5EF4-FFF2-40B4-BE49-F238E27FC236}">
                  <a16:creationId xmlns:a16="http://schemas.microsoft.com/office/drawing/2014/main" id="{84A5B1F6-64B9-4792-8088-33FD44F5342F}"/>
                </a:ext>
              </a:extLst>
            </p:cNvPr>
            <p:cNvSpPr/>
            <p:nvPr/>
          </p:nvSpPr>
          <p:spPr>
            <a:xfrm>
              <a:off x="-1" y="6496048"/>
              <a:ext cx="10151743" cy="361952"/>
            </a:xfrm>
            <a:prstGeom prst="rect">
              <a:avLst/>
            </a:prstGeom>
            <a:solidFill>
              <a:srgbClr val="2198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altLang="ko-KR" dirty="0" err="1">
                  <a:solidFill>
                    <a:schemeClr val="bg1"/>
                  </a:solidFill>
                  <a:cs typeface="Arial" pitchFamily="34" charset="0"/>
                </a:rPr>
                <a:t>Neural</a:t>
              </a:r>
              <a:r>
                <a:rPr lang="tr-TR" altLang="ko-KR" dirty="0">
                  <a:solidFill>
                    <a:schemeClr val="bg1"/>
                  </a:solidFill>
                  <a:cs typeface="Arial" pitchFamily="34" charset="0"/>
                </a:rPr>
                <a:t> Networks</a:t>
              </a:r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55CA6E3D-CF62-6C51-F066-B1FB5A7401DC}"/>
              </a:ext>
            </a:extLst>
          </p:cNvPr>
          <p:cNvSpPr txBox="1"/>
          <p:nvPr/>
        </p:nvSpPr>
        <p:spPr>
          <a:xfrm>
            <a:off x="255198" y="244522"/>
            <a:ext cx="253880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etwork Training</a:t>
            </a:r>
          </a:p>
          <a:p>
            <a:r>
              <a:rPr lang="en-US" sz="14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lat vs. Sharp Minima</a:t>
            </a:r>
            <a:endParaRPr lang="en-US" sz="1400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6" name="Picture 5" descr="Chart&#10;&#10;Description automatically generated">
            <a:extLst>
              <a:ext uri="{FF2B5EF4-FFF2-40B4-BE49-F238E27FC236}">
                <a16:creationId xmlns:a16="http://schemas.microsoft.com/office/drawing/2014/main" id="{8168217D-6E62-00F9-1565-34CB976FF995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7184"/>
          <a:stretch/>
        </p:blipFill>
        <p:spPr>
          <a:xfrm>
            <a:off x="2442822" y="1545753"/>
            <a:ext cx="7377379" cy="3380484"/>
          </a:xfrm>
          <a:prstGeom prst="rect">
            <a:avLst/>
          </a:prstGeom>
        </p:spPr>
      </p:pic>
      <p:sp>
        <p:nvSpPr>
          <p:cNvPr id="48" name="TextBox 47">
            <a:extLst>
              <a:ext uri="{FF2B5EF4-FFF2-40B4-BE49-F238E27FC236}">
                <a16:creationId xmlns:a16="http://schemas.microsoft.com/office/drawing/2014/main" id="{28D14ED4-6FB5-C8AC-58FF-91EB08AFA2AB}"/>
              </a:ext>
            </a:extLst>
          </p:cNvPr>
          <p:cNvSpPr txBox="1"/>
          <p:nvPr/>
        </p:nvSpPr>
        <p:spPr>
          <a:xfrm>
            <a:off x="1420887" y="5799766"/>
            <a:ext cx="178286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*</a:t>
            </a:r>
            <a:r>
              <a:rPr lang="en-US" sz="1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Keskar</a:t>
            </a:r>
            <a:r>
              <a:rPr lang="en-US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et al. 2017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32148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E6EF2DD4-1428-4F29-BED0-012580DEB727}"/>
              </a:ext>
            </a:extLst>
          </p:cNvPr>
          <p:cNvGrpSpPr/>
          <p:nvPr/>
        </p:nvGrpSpPr>
        <p:grpSpPr>
          <a:xfrm>
            <a:off x="0" y="6478236"/>
            <a:ext cx="12192001" cy="398924"/>
            <a:chOff x="-2" y="6479123"/>
            <a:chExt cx="12192002" cy="378877"/>
          </a:xfrm>
        </p:grpSpPr>
        <p:sp>
          <p:nvSpPr>
            <p:cNvPr id="17" name="Dikdörtgen 10">
              <a:extLst>
                <a:ext uri="{FF2B5EF4-FFF2-40B4-BE49-F238E27FC236}">
                  <a16:creationId xmlns:a16="http://schemas.microsoft.com/office/drawing/2014/main" id="{C14596DF-271A-400A-B0AE-693FCDF2F217}"/>
                </a:ext>
              </a:extLst>
            </p:cNvPr>
            <p:cNvSpPr/>
            <p:nvPr/>
          </p:nvSpPr>
          <p:spPr>
            <a:xfrm>
              <a:off x="10115547" y="6496049"/>
              <a:ext cx="2076453" cy="361951"/>
            </a:xfrm>
            <a:prstGeom prst="rect">
              <a:avLst/>
            </a:prstGeom>
            <a:solidFill>
              <a:srgbClr val="2198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dirty="0"/>
                <a:t>   Özgür Martin</a:t>
              </a:r>
            </a:p>
          </p:txBody>
        </p:sp>
        <p:sp>
          <p:nvSpPr>
            <p:cNvPr id="18" name="Dikdörtgen 10">
              <a:extLst>
                <a:ext uri="{FF2B5EF4-FFF2-40B4-BE49-F238E27FC236}">
                  <a16:creationId xmlns:a16="http://schemas.microsoft.com/office/drawing/2014/main" id="{84A5B1F6-64B9-4792-8088-33FD44F5342F}"/>
                </a:ext>
              </a:extLst>
            </p:cNvPr>
            <p:cNvSpPr/>
            <p:nvPr/>
          </p:nvSpPr>
          <p:spPr>
            <a:xfrm>
              <a:off x="-2" y="6479123"/>
              <a:ext cx="10151743" cy="361952"/>
            </a:xfrm>
            <a:prstGeom prst="rect">
              <a:avLst/>
            </a:prstGeom>
            <a:solidFill>
              <a:srgbClr val="2198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altLang="ko-KR" dirty="0" err="1">
                  <a:solidFill>
                    <a:schemeClr val="bg1"/>
                  </a:solidFill>
                  <a:cs typeface="Arial" pitchFamily="34" charset="0"/>
                </a:rPr>
                <a:t>Neural</a:t>
              </a:r>
              <a:r>
                <a:rPr lang="tr-TR" altLang="ko-KR" dirty="0">
                  <a:solidFill>
                    <a:schemeClr val="bg1"/>
                  </a:solidFill>
                  <a:cs typeface="Arial" pitchFamily="34" charset="0"/>
                </a:rPr>
                <a:t> Networks</a:t>
              </a:r>
            </a:p>
          </p:txBody>
        </p:sp>
      </p:grpSp>
      <p:sp>
        <p:nvSpPr>
          <p:cNvPr id="23" name="CustomShape 1">
            <a:extLst>
              <a:ext uri="{FF2B5EF4-FFF2-40B4-BE49-F238E27FC236}">
                <a16:creationId xmlns:a16="http://schemas.microsoft.com/office/drawing/2014/main" id="{4CFDB960-67B4-2304-9A9F-64A44D0F6B3B}"/>
              </a:ext>
            </a:extLst>
          </p:cNvPr>
          <p:cNvSpPr/>
          <p:nvPr/>
        </p:nvSpPr>
        <p:spPr>
          <a:xfrm>
            <a:off x="520540" y="237436"/>
            <a:ext cx="8170920" cy="106488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>
            <a:noAutofit/>
          </a:bodyPr>
          <a:lstStyle/>
          <a:p>
            <a:pPr>
              <a:lnSpc>
                <a:spcPts val="3200"/>
              </a:lnSpc>
            </a:pPr>
            <a:r>
              <a:rPr lang="en-US" sz="2800" b="0" strike="noStrike" spc="-1" dirty="0">
                <a:solidFill>
                  <a:srgbClr val="AB3348"/>
                </a:solidFill>
                <a:latin typeface="Times New Roman"/>
                <a:ea typeface="DejaVu Sans"/>
              </a:rPr>
              <a:t>Processing Units</a:t>
            </a:r>
            <a:endParaRPr lang="en-US" sz="2800" b="0" strike="noStrike" spc="-1" dirty="0">
              <a:latin typeface="Arial"/>
            </a:endParaRPr>
          </a:p>
        </p:txBody>
      </p:sp>
      <p:sp>
        <p:nvSpPr>
          <p:cNvPr id="24" name="CustomShape 2">
            <a:extLst>
              <a:ext uri="{FF2B5EF4-FFF2-40B4-BE49-F238E27FC236}">
                <a16:creationId xmlns:a16="http://schemas.microsoft.com/office/drawing/2014/main" id="{A770F910-A10C-9BAF-02F3-DFC9FA372EE9}"/>
              </a:ext>
            </a:extLst>
          </p:cNvPr>
          <p:cNvSpPr/>
          <p:nvPr/>
        </p:nvSpPr>
        <p:spPr>
          <a:xfrm>
            <a:off x="6648477" y="3074000"/>
            <a:ext cx="694440" cy="694440"/>
          </a:xfrm>
          <a:prstGeom prst="ellipse">
            <a:avLst/>
          </a:prstGeom>
          <a:ln>
            <a:rou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/>
        </p:style>
      </p:sp>
      <p:sp>
        <p:nvSpPr>
          <p:cNvPr id="25" name="CustomShape 3">
            <a:extLst>
              <a:ext uri="{FF2B5EF4-FFF2-40B4-BE49-F238E27FC236}">
                <a16:creationId xmlns:a16="http://schemas.microsoft.com/office/drawing/2014/main" id="{5DE3D059-C9FF-53EE-0E5A-85A634A49F60}"/>
              </a:ext>
            </a:extLst>
          </p:cNvPr>
          <p:cNvSpPr/>
          <p:nvPr/>
        </p:nvSpPr>
        <p:spPr>
          <a:xfrm>
            <a:off x="4024797" y="1378400"/>
            <a:ext cx="694440" cy="694440"/>
          </a:xfrm>
          <a:prstGeom prst="ellipse">
            <a:avLst/>
          </a:prstGeom>
          <a:ln>
            <a:rou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/>
        </p:style>
      </p:sp>
      <p:sp>
        <p:nvSpPr>
          <p:cNvPr id="26" name="CustomShape 4">
            <a:extLst>
              <a:ext uri="{FF2B5EF4-FFF2-40B4-BE49-F238E27FC236}">
                <a16:creationId xmlns:a16="http://schemas.microsoft.com/office/drawing/2014/main" id="{F3F66A45-4B6F-5142-054D-1607972DAA3C}"/>
              </a:ext>
            </a:extLst>
          </p:cNvPr>
          <p:cNvSpPr/>
          <p:nvPr/>
        </p:nvSpPr>
        <p:spPr>
          <a:xfrm>
            <a:off x="4024797" y="3276320"/>
            <a:ext cx="694440" cy="694440"/>
          </a:xfrm>
          <a:prstGeom prst="ellipse">
            <a:avLst/>
          </a:prstGeom>
          <a:ln>
            <a:rou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/>
        </p:style>
      </p:sp>
      <p:sp>
        <p:nvSpPr>
          <p:cNvPr id="27" name="CustomShape 5">
            <a:extLst>
              <a:ext uri="{FF2B5EF4-FFF2-40B4-BE49-F238E27FC236}">
                <a16:creationId xmlns:a16="http://schemas.microsoft.com/office/drawing/2014/main" id="{38D43D4E-28FE-438C-233F-6F415C3F35AC}"/>
              </a:ext>
            </a:extLst>
          </p:cNvPr>
          <p:cNvSpPr/>
          <p:nvPr/>
        </p:nvSpPr>
        <p:spPr>
          <a:xfrm>
            <a:off x="4024797" y="5594720"/>
            <a:ext cx="694440" cy="694440"/>
          </a:xfrm>
          <a:prstGeom prst="ellipse">
            <a:avLst/>
          </a:prstGeom>
          <a:solidFill>
            <a:srgbClr val="AB3348"/>
          </a:solidFill>
          <a:ln>
            <a:rou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/>
        </p:style>
      </p:sp>
      <p:sp>
        <p:nvSpPr>
          <p:cNvPr id="28" name="Line 6">
            <a:extLst>
              <a:ext uri="{FF2B5EF4-FFF2-40B4-BE49-F238E27FC236}">
                <a16:creationId xmlns:a16="http://schemas.microsoft.com/office/drawing/2014/main" id="{C8A43B7C-574D-8FC7-8B06-8E7D63DE670F}"/>
              </a:ext>
            </a:extLst>
          </p:cNvPr>
          <p:cNvSpPr/>
          <p:nvPr/>
        </p:nvSpPr>
        <p:spPr>
          <a:xfrm>
            <a:off x="4719957" y="1726160"/>
            <a:ext cx="1928520" cy="1695600"/>
          </a:xfrm>
          <a:prstGeom prst="line">
            <a:avLst/>
          </a:prstGeom>
          <a:ln w="28440">
            <a:solidFill>
              <a:srgbClr val="BA0033"/>
            </a:solidFill>
            <a:round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/>
        </p:style>
      </p:sp>
      <p:sp>
        <p:nvSpPr>
          <p:cNvPr id="29" name="Line 7">
            <a:extLst>
              <a:ext uri="{FF2B5EF4-FFF2-40B4-BE49-F238E27FC236}">
                <a16:creationId xmlns:a16="http://schemas.microsoft.com/office/drawing/2014/main" id="{C2712050-4A9D-E60C-DB86-914772BB44DC}"/>
              </a:ext>
            </a:extLst>
          </p:cNvPr>
          <p:cNvSpPr/>
          <p:nvPr/>
        </p:nvSpPr>
        <p:spPr>
          <a:xfrm flipV="1">
            <a:off x="4719957" y="3421760"/>
            <a:ext cx="1928520" cy="202320"/>
          </a:xfrm>
          <a:prstGeom prst="line">
            <a:avLst/>
          </a:prstGeom>
          <a:ln w="28440">
            <a:solidFill>
              <a:srgbClr val="BA0033"/>
            </a:solidFill>
            <a:round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/>
        </p:style>
      </p:sp>
      <p:sp>
        <p:nvSpPr>
          <p:cNvPr id="30" name="Line 8">
            <a:extLst>
              <a:ext uri="{FF2B5EF4-FFF2-40B4-BE49-F238E27FC236}">
                <a16:creationId xmlns:a16="http://schemas.microsoft.com/office/drawing/2014/main" id="{B281523C-BF3D-4BFF-1CCB-14E0EA02F65D}"/>
              </a:ext>
            </a:extLst>
          </p:cNvPr>
          <p:cNvSpPr/>
          <p:nvPr/>
        </p:nvSpPr>
        <p:spPr>
          <a:xfrm flipV="1">
            <a:off x="4719957" y="3421760"/>
            <a:ext cx="1928520" cy="2520720"/>
          </a:xfrm>
          <a:prstGeom prst="line">
            <a:avLst/>
          </a:prstGeom>
          <a:ln w="28440">
            <a:solidFill>
              <a:srgbClr val="BA0033"/>
            </a:solidFill>
            <a:round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/>
        </p:style>
      </p:sp>
      <p:sp>
        <p:nvSpPr>
          <p:cNvPr id="31" name="CustomShape 9">
            <a:extLst>
              <a:ext uri="{FF2B5EF4-FFF2-40B4-BE49-F238E27FC236}">
                <a16:creationId xmlns:a16="http://schemas.microsoft.com/office/drawing/2014/main" id="{32D26EF9-D7BE-F794-FE1B-D0059188E07B}"/>
              </a:ext>
            </a:extLst>
          </p:cNvPr>
          <p:cNvSpPr/>
          <p:nvPr/>
        </p:nvSpPr>
        <p:spPr>
          <a:xfrm rot="5400000">
            <a:off x="4127397" y="2486840"/>
            <a:ext cx="637200" cy="45576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2400" b="1" strike="noStrike" spc="-1">
                <a:solidFill>
                  <a:srgbClr val="AB3348"/>
                </a:solidFill>
                <a:latin typeface="Times New Roman"/>
                <a:ea typeface="DejaVu Sans"/>
              </a:rPr>
              <a:t>. . . </a:t>
            </a:r>
            <a:endParaRPr lang="en-US" sz="2400" b="0" strike="noStrike" spc="-1">
              <a:latin typeface="Arial"/>
            </a:endParaRPr>
          </a:p>
        </p:txBody>
      </p:sp>
      <p:sp>
        <p:nvSpPr>
          <p:cNvPr id="32" name="CustomShape 10">
            <a:extLst>
              <a:ext uri="{FF2B5EF4-FFF2-40B4-BE49-F238E27FC236}">
                <a16:creationId xmlns:a16="http://schemas.microsoft.com/office/drawing/2014/main" id="{B94CE788-4F24-9E46-899A-81ECF39353D3}"/>
              </a:ext>
            </a:extLst>
          </p:cNvPr>
          <p:cNvSpPr/>
          <p:nvPr/>
        </p:nvSpPr>
        <p:spPr>
          <a:xfrm>
            <a:off x="4024797" y="4447400"/>
            <a:ext cx="694440" cy="694440"/>
          </a:xfrm>
          <a:prstGeom prst="ellipse">
            <a:avLst/>
          </a:prstGeom>
          <a:ln>
            <a:rou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/>
        </p:style>
      </p:sp>
      <p:sp>
        <p:nvSpPr>
          <p:cNvPr id="33" name="CustomShape 11">
            <a:extLst>
              <a:ext uri="{FF2B5EF4-FFF2-40B4-BE49-F238E27FC236}">
                <a16:creationId xmlns:a16="http://schemas.microsoft.com/office/drawing/2014/main" id="{3118AC81-A493-01CB-F527-EE5D3795090F}"/>
              </a:ext>
            </a:extLst>
          </p:cNvPr>
          <p:cNvSpPr/>
          <p:nvPr/>
        </p:nvSpPr>
        <p:spPr>
          <a:xfrm rot="5400000">
            <a:off x="2407677" y="2486840"/>
            <a:ext cx="637200" cy="45576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2400" b="1" strike="noStrike" spc="-1">
                <a:solidFill>
                  <a:srgbClr val="000000"/>
                </a:solidFill>
                <a:latin typeface="Times New Roman"/>
                <a:ea typeface="DejaVu Sans"/>
              </a:rPr>
              <a:t>. . . </a:t>
            </a:r>
            <a:endParaRPr lang="en-US" sz="2400" b="0" strike="noStrike" spc="-1">
              <a:latin typeface="Arial"/>
            </a:endParaRPr>
          </a:p>
        </p:txBody>
      </p:sp>
      <p:sp>
        <p:nvSpPr>
          <p:cNvPr id="34" name="CustomShape 12">
            <a:extLst>
              <a:ext uri="{FF2B5EF4-FFF2-40B4-BE49-F238E27FC236}">
                <a16:creationId xmlns:a16="http://schemas.microsoft.com/office/drawing/2014/main" id="{79D38204-32B6-93DE-46DC-6E3933352B8D}"/>
              </a:ext>
            </a:extLst>
          </p:cNvPr>
          <p:cNvSpPr/>
          <p:nvPr/>
        </p:nvSpPr>
        <p:spPr>
          <a:xfrm>
            <a:off x="3052077" y="1726160"/>
            <a:ext cx="971640" cy="360"/>
          </a:xfrm>
          <a:custGeom>
            <a:avLst/>
            <a:gdLst/>
            <a:ahLst/>
            <a:cxnLst/>
            <a:rect l="l" t="t" r="r" b="b"/>
            <a:pathLst>
              <a:path w="21600" h="21600">
                <a:moveTo>
                  <a:pt x="0" y="0"/>
                </a:moveTo>
                <a:lnTo>
                  <a:pt x="21600" y="21600"/>
                </a:lnTo>
              </a:path>
            </a:pathLst>
          </a:custGeom>
          <a:noFill/>
          <a:ln w="28440">
            <a:prstDash val="sysDot"/>
            <a:round/>
            <a:tailEnd type="triangle" w="med" len="med"/>
          </a:ln>
          <a:effectLst>
            <a:outerShdw blurRad="40000" dist="20160" dir="5400000" rotWithShape="0">
              <a:srgbClr val="000000">
                <a:alpha val="38000"/>
              </a:srgbClr>
            </a:outerShdw>
          </a:effectLst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/>
        </p:style>
      </p:sp>
      <p:sp>
        <p:nvSpPr>
          <p:cNvPr id="35" name="CustomShape 13">
            <a:extLst>
              <a:ext uri="{FF2B5EF4-FFF2-40B4-BE49-F238E27FC236}">
                <a16:creationId xmlns:a16="http://schemas.microsoft.com/office/drawing/2014/main" id="{3133725D-69D2-6708-5B48-114A77A19B83}"/>
              </a:ext>
            </a:extLst>
          </p:cNvPr>
          <p:cNvSpPr/>
          <p:nvPr/>
        </p:nvSpPr>
        <p:spPr>
          <a:xfrm flipV="1">
            <a:off x="3056757" y="3623360"/>
            <a:ext cx="966960" cy="2160"/>
          </a:xfrm>
          <a:custGeom>
            <a:avLst/>
            <a:gdLst/>
            <a:ahLst/>
            <a:cxnLst/>
            <a:rect l="l" t="t" r="r" b="b"/>
            <a:pathLst>
              <a:path w="21600" h="21600">
                <a:moveTo>
                  <a:pt x="0" y="0"/>
                </a:moveTo>
                <a:lnTo>
                  <a:pt x="21600" y="21600"/>
                </a:lnTo>
              </a:path>
            </a:pathLst>
          </a:custGeom>
          <a:noFill/>
          <a:ln w="28440">
            <a:prstDash val="sysDot"/>
            <a:round/>
            <a:tailEnd type="triangle" w="med" len="med"/>
          </a:ln>
          <a:effectLst>
            <a:outerShdw blurRad="40000" dist="20160" dir="5400000" rotWithShape="0">
              <a:srgbClr val="000000">
                <a:alpha val="38000"/>
              </a:srgbClr>
            </a:outerShdw>
          </a:effectLst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/>
        </p:style>
      </p:sp>
      <p:sp>
        <p:nvSpPr>
          <p:cNvPr id="36" name="CustomShape 14">
            <a:extLst>
              <a:ext uri="{FF2B5EF4-FFF2-40B4-BE49-F238E27FC236}">
                <a16:creationId xmlns:a16="http://schemas.microsoft.com/office/drawing/2014/main" id="{DFE4DE4F-960F-8776-1EC7-BC5B834EE6EF}"/>
              </a:ext>
            </a:extLst>
          </p:cNvPr>
          <p:cNvSpPr/>
          <p:nvPr/>
        </p:nvSpPr>
        <p:spPr>
          <a:xfrm>
            <a:off x="3063957" y="4795520"/>
            <a:ext cx="959760" cy="360"/>
          </a:xfrm>
          <a:custGeom>
            <a:avLst/>
            <a:gdLst/>
            <a:ahLst/>
            <a:cxnLst/>
            <a:rect l="l" t="t" r="r" b="b"/>
            <a:pathLst>
              <a:path w="21600" h="21600">
                <a:moveTo>
                  <a:pt x="0" y="0"/>
                </a:moveTo>
                <a:lnTo>
                  <a:pt x="21600" y="21600"/>
                </a:lnTo>
              </a:path>
            </a:pathLst>
          </a:custGeom>
          <a:noFill/>
          <a:ln w="28440">
            <a:prstDash val="sysDot"/>
            <a:round/>
            <a:tailEnd type="triangle" w="med" len="med"/>
          </a:ln>
          <a:effectLst>
            <a:outerShdw blurRad="40000" dist="20160" dir="5400000" rotWithShape="0">
              <a:srgbClr val="000000">
                <a:alpha val="38000"/>
              </a:srgbClr>
            </a:outerShdw>
          </a:effectLst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/>
        </p:style>
      </p:sp>
      <p:sp>
        <p:nvSpPr>
          <p:cNvPr id="37" name="CustomShape 15">
            <a:extLst>
              <a:ext uri="{FF2B5EF4-FFF2-40B4-BE49-F238E27FC236}">
                <a16:creationId xmlns:a16="http://schemas.microsoft.com/office/drawing/2014/main" id="{03FF5A25-F6D3-963B-02E6-4911371EA3C8}"/>
              </a:ext>
            </a:extLst>
          </p:cNvPr>
          <p:cNvSpPr/>
          <p:nvPr/>
        </p:nvSpPr>
        <p:spPr>
          <a:xfrm>
            <a:off x="3423597" y="5942480"/>
            <a:ext cx="600120" cy="360"/>
          </a:xfrm>
          <a:custGeom>
            <a:avLst/>
            <a:gdLst/>
            <a:ahLst/>
            <a:cxnLst/>
            <a:rect l="l" t="t" r="r" b="b"/>
            <a:pathLst>
              <a:path w="21600" h="21600">
                <a:moveTo>
                  <a:pt x="0" y="0"/>
                </a:moveTo>
                <a:lnTo>
                  <a:pt x="21600" y="21600"/>
                </a:lnTo>
              </a:path>
            </a:pathLst>
          </a:custGeom>
          <a:noFill/>
          <a:ln w="28440">
            <a:prstDash val="sysDot"/>
            <a:round/>
            <a:tailEnd type="triangle" w="med" len="med"/>
          </a:ln>
          <a:effectLst>
            <a:outerShdw blurRad="40000" dist="20160" dir="5400000" rotWithShape="0">
              <a:srgbClr val="000000">
                <a:alpha val="38000"/>
              </a:srgbClr>
            </a:outerShdw>
          </a:effectLst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/>
        </p:style>
      </p:sp>
      <p:pic>
        <p:nvPicPr>
          <p:cNvPr id="38" name="Picture 277">
            <a:extLst>
              <a:ext uri="{FF2B5EF4-FFF2-40B4-BE49-F238E27FC236}">
                <a16:creationId xmlns:a16="http://schemas.microsoft.com/office/drawing/2014/main" id="{022E4F62-D808-1A35-EB87-CA218FBC6B75}"/>
              </a:ext>
            </a:extLst>
          </p:cNvPr>
          <p:cNvPicPr/>
          <p:nvPr/>
        </p:nvPicPr>
        <p:blipFill>
          <a:blip r:embed="rId4"/>
          <a:stretch/>
        </p:blipFill>
        <p:spPr>
          <a:xfrm>
            <a:off x="2417037" y="4733240"/>
            <a:ext cx="364680" cy="189360"/>
          </a:xfrm>
          <a:prstGeom prst="rect">
            <a:avLst/>
          </a:prstGeom>
          <a:ln>
            <a:noFill/>
          </a:ln>
        </p:spPr>
      </p:pic>
      <p:pic>
        <p:nvPicPr>
          <p:cNvPr id="39" name="Picture 278">
            <a:extLst>
              <a:ext uri="{FF2B5EF4-FFF2-40B4-BE49-F238E27FC236}">
                <a16:creationId xmlns:a16="http://schemas.microsoft.com/office/drawing/2014/main" id="{8AD1B142-0202-E316-A624-59C9DE8B8315}"/>
              </a:ext>
            </a:extLst>
          </p:cNvPr>
          <p:cNvPicPr/>
          <p:nvPr/>
        </p:nvPicPr>
        <p:blipFill>
          <a:blip r:embed="rId5"/>
          <a:stretch/>
        </p:blipFill>
        <p:spPr>
          <a:xfrm>
            <a:off x="2414517" y="3508160"/>
            <a:ext cx="372240" cy="189360"/>
          </a:xfrm>
          <a:prstGeom prst="rect">
            <a:avLst/>
          </a:prstGeom>
          <a:ln>
            <a:noFill/>
          </a:ln>
        </p:spPr>
      </p:pic>
      <p:pic>
        <p:nvPicPr>
          <p:cNvPr id="40" name="Picture 279">
            <a:extLst>
              <a:ext uri="{FF2B5EF4-FFF2-40B4-BE49-F238E27FC236}">
                <a16:creationId xmlns:a16="http://schemas.microsoft.com/office/drawing/2014/main" id="{EC5FAB9D-BD01-0603-DDD2-C3735BB379C6}"/>
              </a:ext>
            </a:extLst>
          </p:cNvPr>
          <p:cNvPicPr/>
          <p:nvPr/>
        </p:nvPicPr>
        <p:blipFill>
          <a:blip r:embed="rId6"/>
          <a:stretch/>
        </p:blipFill>
        <p:spPr>
          <a:xfrm>
            <a:off x="2407677" y="1597640"/>
            <a:ext cx="383760" cy="227520"/>
          </a:xfrm>
          <a:prstGeom prst="rect">
            <a:avLst/>
          </a:prstGeom>
          <a:ln>
            <a:noFill/>
          </a:ln>
        </p:spPr>
      </p:pic>
      <p:pic>
        <p:nvPicPr>
          <p:cNvPr id="41" name="Picture 280">
            <a:extLst>
              <a:ext uri="{FF2B5EF4-FFF2-40B4-BE49-F238E27FC236}">
                <a16:creationId xmlns:a16="http://schemas.microsoft.com/office/drawing/2014/main" id="{7721BE67-D99F-2E4C-9224-8ABC40F0CA2D}"/>
              </a:ext>
            </a:extLst>
          </p:cNvPr>
          <p:cNvPicPr/>
          <p:nvPr/>
        </p:nvPicPr>
        <p:blipFill>
          <a:blip r:embed="rId7"/>
          <a:stretch/>
        </p:blipFill>
        <p:spPr>
          <a:xfrm>
            <a:off x="2048037" y="5780480"/>
            <a:ext cx="959040" cy="258120"/>
          </a:xfrm>
          <a:prstGeom prst="rect">
            <a:avLst/>
          </a:prstGeom>
          <a:ln>
            <a:noFill/>
          </a:ln>
        </p:spPr>
      </p:pic>
      <p:sp>
        <p:nvSpPr>
          <p:cNvPr id="42" name="Line 16">
            <a:extLst>
              <a:ext uri="{FF2B5EF4-FFF2-40B4-BE49-F238E27FC236}">
                <a16:creationId xmlns:a16="http://schemas.microsoft.com/office/drawing/2014/main" id="{6E516C1E-69CB-A8DC-2CBD-2986C8C07B04}"/>
              </a:ext>
            </a:extLst>
          </p:cNvPr>
          <p:cNvSpPr/>
          <p:nvPr/>
        </p:nvSpPr>
        <p:spPr>
          <a:xfrm flipV="1">
            <a:off x="4719957" y="3421760"/>
            <a:ext cx="1928520" cy="1373400"/>
          </a:xfrm>
          <a:prstGeom prst="line">
            <a:avLst/>
          </a:prstGeom>
          <a:ln w="28440">
            <a:solidFill>
              <a:srgbClr val="BA0033"/>
            </a:solidFill>
            <a:round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/>
        </p:style>
      </p:sp>
      <p:pic>
        <p:nvPicPr>
          <p:cNvPr id="43" name="Picture 290">
            <a:extLst>
              <a:ext uri="{FF2B5EF4-FFF2-40B4-BE49-F238E27FC236}">
                <a16:creationId xmlns:a16="http://schemas.microsoft.com/office/drawing/2014/main" id="{61A460CD-EB49-75D8-3FB3-DDBB466E6FEF}"/>
              </a:ext>
            </a:extLst>
          </p:cNvPr>
          <p:cNvPicPr/>
          <p:nvPr/>
        </p:nvPicPr>
        <p:blipFill>
          <a:blip r:embed="rId8"/>
          <a:stretch/>
        </p:blipFill>
        <p:spPr>
          <a:xfrm>
            <a:off x="4873317" y="4141040"/>
            <a:ext cx="277200" cy="288360"/>
          </a:xfrm>
          <a:prstGeom prst="rect">
            <a:avLst/>
          </a:prstGeom>
          <a:ln>
            <a:noFill/>
          </a:ln>
        </p:spPr>
      </p:pic>
      <p:pic>
        <p:nvPicPr>
          <p:cNvPr id="44" name="Picture 292">
            <a:extLst>
              <a:ext uri="{FF2B5EF4-FFF2-40B4-BE49-F238E27FC236}">
                <a16:creationId xmlns:a16="http://schemas.microsoft.com/office/drawing/2014/main" id="{C58165F8-14E5-8D36-B3EF-34569E876018}"/>
              </a:ext>
            </a:extLst>
          </p:cNvPr>
          <p:cNvPicPr/>
          <p:nvPr/>
        </p:nvPicPr>
        <p:blipFill>
          <a:blip r:embed="rId9"/>
          <a:stretch/>
        </p:blipFill>
        <p:spPr>
          <a:xfrm>
            <a:off x="4873317" y="3222680"/>
            <a:ext cx="284760" cy="288360"/>
          </a:xfrm>
          <a:prstGeom prst="rect">
            <a:avLst/>
          </a:prstGeom>
          <a:ln>
            <a:noFill/>
          </a:ln>
        </p:spPr>
      </p:pic>
      <p:pic>
        <p:nvPicPr>
          <p:cNvPr id="45" name="Picture 294">
            <a:extLst>
              <a:ext uri="{FF2B5EF4-FFF2-40B4-BE49-F238E27FC236}">
                <a16:creationId xmlns:a16="http://schemas.microsoft.com/office/drawing/2014/main" id="{5391CE37-D844-FD4D-5320-CE66EA8D2470}"/>
              </a:ext>
            </a:extLst>
          </p:cNvPr>
          <p:cNvPicPr/>
          <p:nvPr/>
        </p:nvPicPr>
        <p:blipFill>
          <a:blip r:embed="rId10"/>
          <a:stretch/>
        </p:blipFill>
        <p:spPr>
          <a:xfrm>
            <a:off x="4873317" y="5001440"/>
            <a:ext cx="284760" cy="288360"/>
          </a:xfrm>
          <a:prstGeom prst="rect">
            <a:avLst/>
          </a:prstGeom>
          <a:ln>
            <a:noFill/>
          </a:ln>
        </p:spPr>
      </p:pic>
      <p:pic>
        <p:nvPicPr>
          <p:cNvPr id="46" name="Picture 296">
            <a:extLst>
              <a:ext uri="{FF2B5EF4-FFF2-40B4-BE49-F238E27FC236}">
                <a16:creationId xmlns:a16="http://schemas.microsoft.com/office/drawing/2014/main" id="{DE56464B-0C9D-66BA-5955-E9D8E307F58F}"/>
              </a:ext>
            </a:extLst>
          </p:cNvPr>
          <p:cNvPicPr/>
          <p:nvPr/>
        </p:nvPicPr>
        <p:blipFill>
          <a:blip r:embed="rId11"/>
          <a:stretch/>
        </p:blipFill>
        <p:spPr>
          <a:xfrm>
            <a:off x="4873317" y="1479920"/>
            <a:ext cx="296280" cy="311400"/>
          </a:xfrm>
          <a:prstGeom prst="rect">
            <a:avLst/>
          </a:prstGeom>
          <a:ln>
            <a:noFill/>
          </a:ln>
        </p:spPr>
      </p:pic>
      <p:sp>
        <p:nvSpPr>
          <p:cNvPr id="47" name="CustomShape 17">
            <a:extLst>
              <a:ext uri="{FF2B5EF4-FFF2-40B4-BE49-F238E27FC236}">
                <a16:creationId xmlns:a16="http://schemas.microsoft.com/office/drawing/2014/main" id="{3B926815-79B9-8C2E-35CB-7A2BC18BAD46}"/>
              </a:ext>
            </a:extLst>
          </p:cNvPr>
          <p:cNvSpPr/>
          <p:nvPr/>
        </p:nvSpPr>
        <p:spPr>
          <a:xfrm>
            <a:off x="5546877" y="5725400"/>
            <a:ext cx="1661760" cy="36396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>
            <a:spAutoFit/>
          </a:bodyPr>
          <a:lstStyle/>
          <a:p>
            <a:pPr>
              <a:lnSpc>
                <a:spcPct val="100000"/>
              </a:lnSpc>
            </a:pPr>
            <a:r>
              <a:rPr lang="en-US" sz="1800" b="1" strike="noStrike" spc="-1">
                <a:solidFill>
                  <a:srgbClr val="084112"/>
                </a:solidFill>
                <a:latin typeface="Times New Roman"/>
                <a:ea typeface="DejaVu Sans"/>
              </a:rPr>
              <a:t>bias parameter</a:t>
            </a:r>
            <a:endParaRPr lang="en-US" sz="1800" b="0" strike="noStrike" spc="-1">
              <a:latin typeface="Arial"/>
            </a:endParaRPr>
          </a:p>
        </p:txBody>
      </p:sp>
      <p:sp>
        <p:nvSpPr>
          <p:cNvPr id="48" name="CustomShape 18">
            <a:extLst>
              <a:ext uri="{FF2B5EF4-FFF2-40B4-BE49-F238E27FC236}">
                <a16:creationId xmlns:a16="http://schemas.microsoft.com/office/drawing/2014/main" id="{BDEBEEC4-895D-E4C3-0BBA-32D9D7A09BFE}"/>
              </a:ext>
            </a:extLst>
          </p:cNvPr>
          <p:cNvSpPr/>
          <p:nvPr/>
        </p:nvSpPr>
        <p:spPr>
          <a:xfrm rot="10800000">
            <a:off x="5016957" y="5291960"/>
            <a:ext cx="522000" cy="618120"/>
          </a:xfrm>
          <a:prstGeom prst="curvedConnector2">
            <a:avLst/>
          </a:prstGeom>
          <a:noFill/>
          <a:ln>
            <a:solidFill>
              <a:srgbClr val="084112"/>
            </a:solidFill>
            <a:prstDash val="sysDash"/>
            <a:round/>
            <a:tailEnd type="triangle" w="med" len="med"/>
          </a:ln>
          <a:effectLst>
            <a:outerShdw blurRad="40000" dist="20160" dir="5400000" rotWithShape="0">
              <a:srgbClr val="000000">
                <a:alpha val="3800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/>
        </p:style>
      </p:sp>
      <p:sp>
        <p:nvSpPr>
          <p:cNvPr id="49" name="CustomShape 19">
            <a:extLst>
              <a:ext uri="{FF2B5EF4-FFF2-40B4-BE49-F238E27FC236}">
                <a16:creationId xmlns:a16="http://schemas.microsoft.com/office/drawing/2014/main" id="{55C9D511-C0D0-533E-5500-BAD40930AECE}"/>
              </a:ext>
            </a:extLst>
          </p:cNvPr>
          <p:cNvSpPr/>
          <p:nvPr/>
        </p:nvSpPr>
        <p:spPr>
          <a:xfrm>
            <a:off x="6087597" y="1015301"/>
            <a:ext cx="1146600" cy="36396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>
            <a:spAutoFit/>
          </a:bodyPr>
          <a:lstStyle/>
          <a:p>
            <a:pPr>
              <a:lnSpc>
                <a:spcPct val="100000"/>
              </a:lnSpc>
            </a:pPr>
            <a:r>
              <a:rPr lang="en-US" sz="1800" b="1" strike="noStrike" spc="-1" dirty="0">
                <a:solidFill>
                  <a:srgbClr val="084112"/>
                </a:solidFill>
                <a:latin typeface="Times New Roman"/>
                <a:ea typeface="DejaVu Sans"/>
              </a:rPr>
              <a:t>activation</a:t>
            </a:r>
            <a:endParaRPr lang="en-US" sz="1800" b="0" strike="noStrike" spc="-1" dirty="0">
              <a:latin typeface="Arial"/>
            </a:endParaRPr>
          </a:p>
        </p:txBody>
      </p:sp>
      <p:sp>
        <p:nvSpPr>
          <p:cNvPr id="50" name="CustomShape 20">
            <a:extLst>
              <a:ext uri="{FF2B5EF4-FFF2-40B4-BE49-F238E27FC236}">
                <a16:creationId xmlns:a16="http://schemas.microsoft.com/office/drawing/2014/main" id="{D362AF20-4BEB-EEA1-49DC-E1C91CADAEA5}"/>
              </a:ext>
            </a:extLst>
          </p:cNvPr>
          <p:cNvSpPr/>
          <p:nvPr/>
        </p:nvSpPr>
        <p:spPr>
          <a:xfrm rot="10800000" flipV="1">
            <a:off x="5810937" y="1250240"/>
            <a:ext cx="283320" cy="982080"/>
          </a:xfrm>
          <a:prstGeom prst="curvedConnector3">
            <a:avLst>
              <a:gd name="adj1" fmla="val 180390"/>
            </a:avLst>
          </a:prstGeom>
          <a:noFill/>
          <a:ln>
            <a:solidFill>
              <a:srgbClr val="084112"/>
            </a:solidFill>
            <a:prstDash val="sysDash"/>
            <a:round/>
            <a:tailEnd type="triangle" w="med" len="med"/>
          </a:ln>
          <a:effectLst>
            <a:outerShdw blurRad="40000" dist="20160" dir="5400000" rotWithShape="0">
              <a:srgbClr val="000000">
                <a:alpha val="3800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/>
        </p:style>
      </p:sp>
      <p:pic>
        <p:nvPicPr>
          <p:cNvPr id="51" name="Picture 308">
            <a:extLst>
              <a:ext uri="{FF2B5EF4-FFF2-40B4-BE49-F238E27FC236}">
                <a16:creationId xmlns:a16="http://schemas.microsoft.com/office/drawing/2014/main" id="{F5164293-F466-31A6-30AB-FC4E0E348E0E}"/>
              </a:ext>
            </a:extLst>
          </p:cNvPr>
          <p:cNvPicPr/>
          <p:nvPr/>
        </p:nvPicPr>
        <p:blipFill>
          <a:blip r:embed="rId12"/>
          <a:stretch/>
        </p:blipFill>
        <p:spPr>
          <a:xfrm>
            <a:off x="5875197" y="1830560"/>
            <a:ext cx="4121280" cy="928440"/>
          </a:xfrm>
          <a:prstGeom prst="rect">
            <a:avLst/>
          </a:prstGeom>
          <a:ln>
            <a:noFill/>
          </a:ln>
        </p:spPr>
      </p:pic>
      <p:sp>
        <p:nvSpPr>
          <p:cNvPr id="52" name="CustomShape 21">
            <a:extLst>
              <a:ext uri="{FF2B5EF4-FFF2-40B4-BE49-F238E27FC236}">
                <a16:creationId xmlns:a16="http://schemas.microsoft.com/office/drawing/2014/main" id="{A40D99F0-7C61-D1FA-FE2C-B7313E745A29}"/>
              </a:ext>
            </a:extLst>
          </p:cNvPr>
          <p:cNvSpPr/>
          <p:nvPr/>
        </p:nvSpPr>
        <p:spPr>
          <a:xfrm>
            <a:off x="7818837" y="4915040"/>
            <a:ext cx="2016720" cy="36396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>
            <a:spAutoFit/>
          </a:bodyPr>
          <a:lstStyle/>
          <a:p>
            <a:pPr>
              <a:lnSpc>
                <a:spcPct val="100000"/>
              </a:lnSpc>
            </a:pPr>
            <a:r>
              <a:rPr lang="en-US" sz="1800" b="1" strike="noStrike" spc="-1" dirty="0">
                <a:solidFill>
                  <a:srgbClr val="084112"/>
                </a:solidFill>
                <a:latin typeface="Times New Roman"/>
                <a:ea typeface="DejaVu Sans"/>
              </a:rPr>
              <a:t>activation function</a:t>
            </a:r>
            <a:endParaRPr lang="en-US" sz="1800" b="0" strike="noStrike" spc="-1" dirty="0">
              <a:latin typeface="Arial"/>
            </a:endParaRPr>
          </a:p>
        </p:txBody>
      </p:sp>
      <p:sp>
        <p:nvSpPr>
          <p:cNvPr id="53" name="CustomShape 22">
            <a:extLst>
              <a:ext uri="{FF2B5EF4-FFF2-40B4-BE49-F238E27FC236}">
                <a16:creationId xmlns:a16="http://schemas.microsoft.com/office/drawing/2014/main" id="{F0F6193F-943B-8A54-B642-967F027B18C0}"/>
              </a:ext>
            </a:extLst>
          </p:cNvPr>
          <p:cNvSpPr/>
          <p:nvPr/>
        </p:nvSpPr>
        <p:spPr>
          <a:xfrm rot="10800000">
            <a:off x="7242477" y="4223480"/>
            <a:ext cx="566640" cy="876240"/>
          </a:xfrm>
          <a:prstGeom prst="curvedConnector2">
            <a:avLst/>
          </a:prstGeom>
          <a:noFill/>
          <a:ln>
            <a:solidFill>
              <a:srgbClr val="084112"/>
            </a:solidFill>
            <a:prstDash val="sysDash"/>
            <a:round/>
            <a:tailEnd type="triangle" w="med" len="med"/>
          </a:ln>
          <a:effectLst>
            <a:outerShdw blurRad="40000" dist="20160" dir="5400000" rotWithShape="0">
              <a:srgbClr val="000000">
                <a:alpha val="3800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/>
        </p:style>
      </p:sp>
      <p:pic>
        <p:nvPicPr>
          <p:cNvPr id="54" name="Picture 313">
            <a:extLst>
              <a:ext uri="{FF2B5EF4-FFF2-40B4-BE49-F238E27FC236}">
                <a16:creationId xmlns:a16="http://schemas.microsoft.com/office/drawing/2014/main" id="{5D00BD86-E1F8-1855-7E6E-F0187FC96EAC}"/>
              </a:ext>
            </a:extLst>
          </p:cNvPr>
          <p:cNvPicPr/>
          <p:nvPr/>
        </p:nvPicPr>
        <p:blipFill>
          <a:blip r:embed="rId13"/>
          <a:stretch/>
        </p:blipFill>
        <p:spPr>
          <a:xfrm>
            <a:off x="6571437" y="3905960"/>
            <a:ext cx="1134360" cy="315000"/>
          </a:xfrm>
          <a:prstGeom prst="rect">
            <a:avLst/>
          </a:prstGeom>
          <a:ln>
            <a:noFill/>
          </a:ln>
        </p:spPr>
      </p:pic>
      <p:sp>
        <p:nvSpPr>
          <p:cNvPr id="55" name="CustomShape 23">
            <a:extLst>
              <a:ext uri="{FF2B5EF4-FFF2-40B4-BE49-F238E27FC236}">
                <a16:creationId xmlns:a16="http://schemas.microsoft.com/office/drawing/2014/main" id="{B90DD0D5-0BDD-4A91-B941-25390B0BAA31}"/>
              </a:ext>
            </a:extLst>
          </p:cNvPr>
          <p:cNvSpPr/>
          <p:nvPr/>
        </p:nvSpPr>
        <p:spPr>
          <a:xfrm>
            <a:off x="7344357" y="3421760"/>
            <a:ext cx="1006200" cy="360"/>
          </a:xfrm>
          <a:custGeom>
            <a:avLst/>
            <a:gdLst/>
            <a:ahLst/>
            <a:cxnLst/>
            <a:rect l="l" t="t" r="r" b="b"/>
            <a:pathLst>
              <a:path w="21600" h="21600">
                <a:moveTo>
                  <a:pt x="0" y="0"/>
                </a:moveTo>
                <a:lnTo>
                  <a:pt x="21600" y="21600"/>
                </a:lnTo>
              </a:path>
            </a:pathLst>
          </a:custGeom>
          <a:noFill/>
          <a:ln w="28440">
            <a:prstDash val="sysDot"/>
            <a:round/>
            <a:tailEnd type="triangle" w="med" len="med"/>
          </a:ln>
          <a:effectLst>
            <a:outerShdw blurRad="40000" dist="20160" dir="5400000" rotWithShape="0">
              <a:srgbClr val="000000">
                <a:alpha val="38000"/>
              </a:srgbClr>
            </a:outerShdw>
          </a:effectLst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/>
        </p:style>
      </p:sp>
    </p:spTree>
    <p:custDataLst>
      <p:tags r:id="rId1"/>
    </p:custDataLst>
    <p:extLst>
      <p:ext uri="{BB962C8B-B14F-4D97-AF65-F5344CB8AC3E}">
        <p14:creationId xmlns:p14="http://schemas.microsoft.com/office/powerpoint/2010/main" val="2240722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" grpId="0"/>
      <p:bldP spid="47" grpId="0"/>
      <p:bldP spid="49" grpId="0"/>
      <p:bldP spid="52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E6EF2DD4-1428-4F29-BED0-012580DEB727}"/>
              </a:ext>
            </a:extLst>
          </p:cNvPr>
          <p:cNvGrpSpPr/>
          <p:nvPr/>
        </p:nvGrpSpPr>
        <p:grpSpPr>
          <a:xfrm>
            <a:off x="1" y="6496048"/>
            <a:ext cx="12192000" cy="381103"/>
            <a:chOff x="-1" y="6496048"/>
            <a:chExt cx="12192001" cy="361952"/>
          </a:xfrm>
        </p:grpSpPr>
        <p:sp>
          <p:nvSpPr>
            <p:cNvPr id="17" name="Dikdörtgen 10">
              <a:extLst>
                <a:ext uri="{FF2B5EF4-FFF2-40B4-BE49-F238E27FC236}">
                  <a16:creationId xmlns:a16="http://schemas.microsoft.com/office/drawing/2014/main" id="{C14596DF-271A-400A-B0AE-693FCDF2F217}"/>
                </a:ext>
              </a:extLst>
            </p:cNvPr>
            <p:cNvSpPr/>
            <p:nvPr/>
          </p:nvSpPr>
          <p:spPr>
            <a:xfrm>
              <a:off x="10115547" y="6496049"/>
              <a:ext cx="2076453" cy="361951"/>
            </a:xfrm>
            <a:prstGeom prst="rect">
              <a:avLst/>
            </a:prstGeom>
            <a:solidFill>
              <a:srgbClr val="2198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dirty="0"/>
                <a:t>   Özgür Martin</a:t>
              </a:r>
            </a:p>
          </p:txBody>
        </p:sp>
        <p:sp>
          <p:nvSpPr>
            <p:cNvPr id="18" name="Dikdörtgen 10">
              <a:extLst>
                <a:ext uri="{FF2B5EF4-FFF2-40B4-BE49-F238E27FC236}">
                  <a16:creationId xmlns:a16="http://schemas.microsoft.com/office/drawing/2014/main" id="{84A5B1F6-64B9-4792-8088-33FD44F5342F}"/>
                </a:ext>
              </a:extLst>
            </p:cNvPr>
            <p:cNvSpPr/>
            <p:nvPr/>
          </p:nvSpPr>
          <p:spPr>
            <a:xfrm>
              <a:off x="-1" y="6496048"/>
              <a:ext cx="10151743" cy="361952"/>
            </a:xfrm>
            <a:prstGeom prst="rect">
              <a:avLst/>
            </a:prstGeom>
            <a:solidFill>
              <a:srgbClr val="2198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altLang="ko-KR" dirty="0" err="1">
                  <a:solidFill>
                    <a:schemeClr val="bg1"/>
                  </a:solidFill>
                  <a:cs typeface="Arial" pitchFamily="34" charset="0"/>
                </a:rPr>
                <a:t>Neural</a:t>
              </a:r>
              <a:r>
                <a:rPr lang="tr-TR" altLang="ko-KR" dirty="0">
                  <a:solidFill>
                    <a:schemeClr val="bg1"/>
                  </a:solidFill>
                  <a:cs typeface="Arial" pitchFamily="34" charset="0"/>
                </a:rPr>
                <a:t> Networks</a:t>
              </a: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30C69B5C-416A-A734-1B35-553AF0B6AE84}"/>
              </a:ext>
            </a:extLst>
          </p:cNvPr>
          <p:cNvSpPr txBox="1"/>
          <p:nvPr/>
        </p:nvSpPr>
        <p:spPr>
          <a:xfrm>
            <a:off x="255198" y="244522"/>
            <a:ext cx="253880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etwork Training</a:t>
            </a:r>
          </a:p>
          <a:p>
            <a:r>
              <a:rPr lang="en-US" sz="14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lat vs. Sharp Minima</a:t>
            </a:r>
            <a:endParaRPr lang="en-US" sz="1400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3" name="Picture 2" descr="Chart, line chart&#10;&#10;Description automatically generated">
            <a:extLst>
              <a:ext uri="{FF2B5EF4-FFF2-40B4-BE49-F238E27FC236}">
                <a16:creationId xmlns:a16="http://schemas.microsoft.com/office/drawing/2014/main" id="{F29B91BD-8462-F62C-8477-B31989E287B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05874" y="1565109"/>
            <a:ext cx="6569526" cy="3850519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F7B30ED5-2EBD-EF56-95B7-0B457D091DE2}"/>
              </a:ext>
            </a:extLst>
          </p:cNvPr>
          <p:cNvSpPr txBox="1"/>
          <p:nvPr/>
        </p:nvSpPr>
        <p:spPr>
          <a:xfrm>
            <a:off x="8833150" y="2967678"/>
            <a:ext cx="2780120" cy="129266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Deep Convolutional </a:t>
            </a:r>
          </a:p>
          <a:p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Neural Net on CIFAR-10</a:t>
            </a:r>
          </a:p>
          <a:p>
            <a:endParaRPr lang="en-US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*</a:t>
            </a:r>
            <a:r>
              <a:rPr lang="en-US" sz="1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Keskar</a:t>
            </a:r>
            <a:r>
              <a:rPr lang="en-US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et al. 2017</a:t>
            </a:r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1628130F-E92B-445E-6711-06ED7F0D1A5E}"/>
              </a:ext>
            </a:extLst>
          </p:cNvPr>
          <p:cNvCxnSpPr>
            <a:cxnSpLocks/>
          </p:cNvCxnSpPr>
          <p:nvPr/>
        </p:nvCxnSpPr>
        <p:spPr>
          <a:xfrm flipV="1">
            <a:off x="3880363" y="5403820"/>
            <a:ext cx="344384" cy="318096"/>
          </a:xfrm>
          <a:prstGeom prst="straightConnector1">
            <a:avLst/>
          </a:prstGeom>
          <a:ln w="31750">
            <a:solidFill>
              <a:srgbClr val="C00000"/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452051D4-A642-D9F6-0328-11468C30328C}"/>
              </a:ext>
            </a:extLst>
          </p:cNvPr>
          <p:cNvSpPr txBox="1"/>
          <p:nvPr/>
        </p:nvSpPr>
        <p:spPr>
          <a:xfrm>
            <a:off x="3407157" y="5721916"/>
            <a:ext cx="6463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GD</a:t>
            </a:r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8B089F17-D704-8811-7A60-FB5A19363880}"/>
              </a:ext>
            </a:extLst>
          </p:cNvPr>
          <p:cNvCxnSpPr>
            <a:cxnSpLocks/>
          </p:cNvCxnSpPr>
          <p:nvPr/>
        </p:nvCxnSpPr>
        <p:spPr>
          <a:xfrm flipH="1" flipV="1">
            <a:off x="6233229" y="5415628"/>
            <a:ext cx="240994" cy="306288"/>
          </a:xfrm>
          <a:prstGeom prst="straightConnector1">
            <a:avLst/>
          </a:prstGeom>
          <a:ln w="31750">
            <a:solidFill>
              <a:srgbClr val="C00000"/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1DA38597-0C44-7A9B-9762-21F1CF16719D}"/>
              </a:ext>
            </a:extLst>
          </p:cNvPr>
          <p:cNvSpPr txBox="1"/>
          <p:nvPr/>
        </p:nvSpPr>
        <p:spPr>
          <a:xfrm>
            <a:off x="6311494" y="5694448"/>
            <a:ext cx="51809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D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09333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E6EF2DD4-1428-4F29-BED0-012580DEB727}"/>
              </a:ext>
            </a:extLst>
          </p:cNvPr>
          <p:cNvGrpSpPr/>
          <p:nvPr/>
        </p:nvGrpSpPr>
        <p:grpSpPr>
          <a:xfrm>
            <a:off x="1" y="6496048"/>
            <a:ext cx="12192000" cy="381103"/>
            <a:chOff x="-1" y="6496048"/>
            <a:chExt cx="12192001" cy="361952"/>
          </a:xfrm>
        </p:grpSpPr>
        <p:sp>
          <p:nvSpPr>
            <p:cNvPr id="17" name="Dikdörtgen 10">
              <a:extLst>
                <a:ext uri="{FF2B5EF4-FFF2-40B4-BE49-F238E27FC236}">
                  <a16:creationId xmlns:a16="http://schemas.microsoft.com/office/drawing/2014/main" id="{C14596DF-271A-400A-B0AE-693FCDF2F217}"/>
                </a:ext>
              </a:extLst>
            </p:cNvPr>
            <p:cNvSpPr/>
            <p:nvPr/>
          </p:nvSpPr>
          <p:spPr>
            <a:xfrm>
              <a:off x="10115547" y="6496049"/>
              <a:ext cx="2076453" cy="361951"/>
            </a:xfrm>
            <a:prstGeom prst="rect">
              <a:avLst/>
            </a:prstGeom>
            <a:solidFill>
              <a:srgbClr val="2198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dirty="0"/>
                <a:t>   Özgür Martin</a:t>
              </a:r>
            </a:p>
          </p:txBody>
        </p:sp>
        <p:sp>
          <p:nvSpPr>
            <p:cNvPr id="18" name="Dikdörtgen 10">
              <a:extLst>
                <a:ext uri="{FF2B5EF4-FFF2-40B4-BE49-F238E27FC236}">
                  <a16:creationId xmlns:a16="http://schemas.microsoft.com/office/drawing/2014/main" id="{84A5B1F6-64B9-4792-8088-33FD44F5342F}"/>
                </a:ext>
              </a:extLst>
            </p:cNvPr>
            <p:cNvSpPr/>
            <p:nvPr/>
          </p:nvSpPr>
          <p:spPr>
            <a:xfrm>
              <a:off x="-1" y="6496048"/>
              <a:ext cx="10151743" cy="361952"/>
            </a:xfrm>
            <a:prstGeom prst="rect">
              <a:avLst/>
            </a:prstGeom>
            <a:solidFill>
              <a:srgbClr val="2198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altLang="ko-KR" dirty="0" err="1">
                  <a:solidFill>
                    <a:schemeClr val="bg1"/>
                  </a:solidFill>
                  <a:cs typeface="Arial" pitchFamily="34" charset="0"/>
                </a:rPr>
                <a:t>Neural</a:t>
              </a:r>
              <a:r>
                <a:rPr lang="tr-TR" altLang="ko-KR" dirty="0">
                  <a:solidFill>
                    <a:schemeClr val="bg1"/>
                  </a:solidFill>
                  <a:cs typeface="Arial" pitchFamily="34" charset="0"/>
                </a:rPr>
                <a:t> Networks</a:t>
              </a: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8A6616C4-CAD4-3803-7B09-7B6D15D96E6A}"/>
              </a:ext>
            </a:extLst>
          </p:cNvPr>
          <p:cNvSpPr txBox="1"/>
          <p:nvPr/>
        </p:nvSpPr>
        <p:spPr>
          <a:xfrm>
            <a:off x="255198" y="244522"/>
            <a:ext cx="253880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nalysis</a:t>
            </a:r>
          </a:p>
          <a:p>
            <a:r>
              <a:rPr lang="en-US" sz="1400" b="1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otation</a:t>
            </a:r>
            <a:endParaRPr lang="en-US" sz="1400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F4E1CE1-0F4D-DB90-E8B6-542F72A53A3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62400" y="1820578"/>
            <a:ext cx="4267200" cy="14224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9E8ED5DF-2408-EB7E-6FE7-9F742159233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794000" y="3861726"/>
            <a:ext cx="7067550" cy="90678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463B21DB-25FD-3342-9A83-CAD573CDD81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332660" y="5597073"/>
            <a:ext cx="3314700" cy="3175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0708B406-6561-A702-3F34-034E1E27D44D}"/>
              </a:ext>
            </a:extLst>
          </p:cNvPr>
          <p:cNvSpPr/>
          <p:nvPr/>
        </p:nvSpPr>
        <p:spPr>
          <a:xfrm>
            <a:off x="3740499" y="5367563"/>
            <a:ext cx="4400612" cy="819139"/>
          </a:xfrm>
          <a:prstGeom prst="rect">
            <a:avLst/>
          </a:prstGeom>
          <a:noFill/>
          <a:ln>
            <a:solidFill>
              <a:srgbClr val="C00000"/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570513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E6EF2DD4-1428-4F29-BED0-012580DEB727}"/>
              </a:ext>
            </a:extLst>
          </p:cNvPr>
          <p:cNvGrpSpPr/>
          <p:nvPr/>
        </p:nvGrpSpPr>
        <p:grpSpPr>
          <a:xfrm>
            <a:off x="1" y="6496048"/>
            <a:ext cx="12192000" cy="381103"/>
            <a:chOff x="-1" y="6496048"/>
            <a:chExt cx="12192001" cy="361952"/>
          </a:xfrm>
        </p:grpSpPr>
        <p:sp>
          <p:nvSpPr>
            <p:cNvPr id="17" name="Dikdörtgen 10">
              <a:extLst>
                <a:ext uri="{FF2B5EF4-FFF2-40B4-BE49-F238E27FC236}">
                  <a16:creationId xmlns:a16="http://schemas.microsoft.com/office/drawing/2014/main" id="{C14596DF-271A-400A-B0AE-693FCDF2F217}"/>
                </a:ext>
              </a:extLst>
            </p:cNvPr>
            <p:cNvSpPr/>
            <p:nvPr/>
          </p:nvSpPr>
          <p:spPr>
            <a:xfrm>
              <a:off x="10115547" y="6496049"/>
              <a:ext cx="2076453" cy="361951"/>
            </a:xfrm>
            <a:prstGeom prst="rect">
              <a:avLst/>
            </a:prstGeom>
            <a:solidFill>
              <a:srgbClr val="2198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dirty="0"/>
                <a:t>   Özgür Martin</a:t>
              </a:r>
            </a:p>
          </p:txBody>
        </p:sp>
        <p:sp>
          <p:nvSpPr>
            <p:cNvPr id="18" name="Dikdörtgen 10">
              <a:extLst>
                <a:ext uri="{FF2B5EF4-FFF2-40B4-BE49-F238E27FC236}">
                  <a16:creationId xmlns:a16="http://schemas.microsoft.com/office/drawing/2014/main" id="{84A5B1F6-64B9-4792-8088-33FD44F5342F}"/>
                </a:ext>
              </a:extLst>
            </p:cNvPr>
            <p:cNvSpPr/>
            <p:nvPr/>
          </p:nvSpPr>
          <p:spPr>
            <a:xfrm>
              <a:off x="-1" y="6496048"/>
              <a:ext cx="10151743" cy="361952"/>
            </a:xfrm>
            <a:prstGeom prst="rect">
              <a:avLst/>
            </a:prstGeom>
            <a:solidFill>
              <a:srgbClr val="2198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altLang="ko-KR" dirty="0" err="1">
                  <a:solidFill>
                    <a:schemeClr val="bg1"/>
                  </a:solidFill>
                  <a:cs typeface="Arial" pitchFamily="34" charset="0"/>
                </a:rPr>
                <a:t>Neural</a:t>
              </a:r>
              <a:r>
                <a:rPr lang="tr-TR" altLang="ko-KR" dirty="0">
                  <a:solidFill>
                    <a:schemeClr val="bg1"/>
                  </a:solidFill>
                  <a:cs typeface="Arial" pitchFamily="34" charset="0"/>
                </a:rPr>
                <a:t> Networks</a:t>
              </a: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00D7F8A1-13CC-3ADB-1039-A115B51C0167}"/>
              </a:ext>
            </a:extLst>
          </p:cNvPr>
          <p:cNvSpPr txBox="1"/>
          <p:nvPr/>
        </p:nvSpPr>
        <p:spPr>
          <a:xfrm>
            <a:off x="255198" y="244522"/>
            <a:ext cx="253880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nalysi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CD5EB24-4632-1268-8C48-E27DC69E867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09800" y="1683661"/>
            <a:ext cx="7858125" cy="1000125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E36AB1A1-1891-432E-87CF-04275DA74E5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209800" y="4854078"/>
            <a:ext cx="1819275" cy="17145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2E074756-C5F5-2151-207A-5AEB4A41EFB2}"/>
              </a:ext>
            </a:extLst>
          </p:cNvPr>
          <p:cNvSpPr/>
          <p:nvPr/>
        </p:nvSpPr>
        <p:spPr>
          <a:xfrm>
            <a:off x="2124075" y="1343985"/>
            <a:ext cx="8130706" cy="1681514"/>
          </a:xfrm>
          <a:prstGeom prst="rect">
            <a:avLst/>
          </a:prstGeom>
          <a:noFill/>
          <a:ln>
            <a:solidFill>
              <a:srgbClr val="C00000"/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21FD918-7E9A-3329-2728-C5A6929EA329}"/>
              </a:ext>
            </a:extLst>
          </p:cNvPr>
          <p:cNvSpPr/>
          <p:nvPr/>
        </p:nvSpPr>
        <p:spPr>
          <a:xfrm>
            <a:off x="2124075" y="3258289"/>
            <a:ext cx="8130706" cy="2007182"/>
          </a:xfrm>
          <a:prstGeom prst="rect">
            <a:avLst/>
          </a:prstGeom>
          <a:noFill/>
          <a:ln>
            <a:solidFill>
              <a:srgbClr val="C00000"/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84BA5A4-B618-B14E-827E-BD40EEA98C0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209800" y="3565646"/>
            <a:ext cx="7181850" cy="98107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6890130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E6EF2DD4-1428-4F29-BED0-012580DEB727}"/>
              </a:ext>
            </a:extLst>
          </p:cNvPr>
          <p:cNvGrpSpPr/>
          <p:nvPr/>
        </p:nvGrpSpPr>
        <p:grpSpPr>
          <a:xfrm>
            <a:off x="1" y="6496048"/>
            <a:ext cx="12192000" cy="381103"/>
            <a:chOff x="-1" y="6496048"/>
            <a:chExt cx="12192001" cy="361952"/>
          </a:xfrm>
        </p:grpSpPr>
        <p:sp>
          <p:nvSpPr>
            <p:cNvPr id="17" name="Dikdörtgen 10">
              <a:extLst>
                <a:ext uri="{FF2B5EF4-FFF2-40B4-BE49-F238E27FC236}">
                  <a16:creationId xmlns:a16="http://schemas.microsoft.com/office/drawing/2014/main" id="{C14596DF-271A-400A-B0AE-693FCDF2F217}"/>
                </a:ext>
              </a:extLst>
            </p:cNvPr>
            <p:cNvSpPr/>
            <p:nvPr/>
          </p:nvSpPr>
          <p:spPr>
            <a:xfrm>
              <a:off x="10115547" y="6496049"/>
              <a:ext cx="2076453" cy="361951"/>
            </a:xfrm>
            <a:prstGeom prst="rect">
              <a:avLst/>
            </a:prstGeom>
            <a:solidFill>
              <a:srgbClr val="2198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dirty="0"/>
                <a:t>   Özgür Martin</a:t>
              </a:r>
            </a:p>
          </p:txBody>
        </p:sp>
        <p:sp>
          <p:nvSpPr>
            <p:cNvPr id="18" name="Dikdörtgen 10">
              <a:extLst>
                <a:ext uri="{FF2B5EF4-FFF2-40B4-BE49-F238E27FC236}">
                  <a16:creationId xmlns:a16="http://schemas.microsoft.com/office/drawing/2014/main" id="{84A5B1F6-64B9-4792-8088-33FD44F5342F}"/>
                </a:ext>
              </a:extLst>
            </p:cNvPr>
            <p:cNvSpPr/>
            <p:nvPr/>
          </p:nvSpPr>
          <p:spPr>
            <a:xfrm>
              <a:off x="-1" y="6496048"/>
              <a:ext cx="10151743" cy="361952"/>
            </a:xfrm>
            <a:prstGeom prst="rect">
              <a:avLst/>
            </a:prstGeom>
            <a:solidFill>
              <a:srgbClr val="2198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altLang="ko-KR" dirty="0" err="1">
                  <a:solidFill>
                    <a:schemeClr val="bg1"/>
                  </a:solidFill>
                  <a:cs typeface="Arial" pitchFamily="34" charset="0"/>
                </a:rPr>
                <a:t>Neural</a:t>
              </a:r>
              <a:r>
                <a:rPr lang="tr-TR" altLang="ko-KR" dirty="0">
                  <a:solidFill>
                    <a:schemeClr val="bg1"/>
                  </a:solidFill>
                  <a:cs typeface="Arial" pitchFamily="34" charset="0"/>
                </a:rPr>
                <a:t> Networks</a:t>
              </a:r>
            </a:p>
          </p:txBody>
        </p:sp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329791EC-68B0-3C6A-7630-3A8AFA7CE174}"/>
              </a:ext>
            </a:extLst>
          </p:cNvPr>
          <p:cNvSpPr txBox="1"/>
          <p:nvPr/>
        </p:nvSpPr>
        <p:spPr>
          <a:xfrm>
            <a:off x="255198" y="75841"/>
            <a:ext cx="253880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nalysis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E15489B-1137-39FD-9D6B-DBA9A68A781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13060" y="667381"/>
            <a:ext cx="3448050" cy="24765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9A4173FA-AD19-0F3F-30F7-5C657265341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913060" y="2982837"/>
            <a:ext cx="6962775" cy="93345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95BD408E-9F0C-98B4-81DA-405529CA828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618410" y="3997469"/>
            <a:ext cx="4600575" cy="47625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9ACDC52F-B1A8-BA7E-827D-1AA316E6B4F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913060" y="4586441"/>
            <a:ext cx="7858125" cy="120015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135E7014-AA03-8B1C-9268-4CBAF1560F6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93862" y="5899313"/>
            <a:ext cx="6581775" cy="476250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50A4DD91-A4CD-06AC-7E10-ACADCFA34261}"/>
              </a:ext>
            </a:extLst>
          </p:cNvPr>
          <p:cNvSpPr/>
          <p:nvPr/>
        </p:nvSpPr>
        <p:spPr>
          <a:xfrm>
            <a:off x="1776769" y="483274"/>
            <a:ext cx="9521286" cy="588203"/>
          </a:xfrm>
          <a:prstGeom prst="rect">
            <a:avLst/>
          </a:prstGeom>
          <a:noFill/>
          <a:ln>
            <a:solidFill>
              <a:srgbClr val="C00000"/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A6BDB440-F018-2F68-4F2F-92D8166ED258}"/>
              </a:ext>
            </a:extLst>
          </p:cNvPr>
          <p:cNvSpPr/>
          <p:nvPr/>
        </p:nvSpPr>
        <p:spPr>
          <a:xfrm>
            <a:off x="1776768" y="1202893"/>
            <a:ext cx="9521287" cy="5239161"/>
          </a:xfrm>
          <a:prstGeom prst="rect">
            <a:avLst/>
          </a:prstGeom>
          <a:noFill/>
          <a:ln>
            <a:solidFill>
              <a:srgbClr val="C00000"/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F6123473-EA14-942D-0AD8-B5D1414A365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913060" y="1406509"/>
            <a:ext cx="7772400" cy="137271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488073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21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E6EF2DD4-1428-4F29-BED0-012580DEB727}"/>
              </a:ext>
            </a:extLst>
          </p:cNvPr>
          <p:cNvGrpSpPr/>
          <p:nvPr/>
        </p:nvGrpSpPr>
        <p:grpSpPr>
          <a:xfrm>
            <a:off x="1" y="6496048"/>
            <a:ext cx="12192000" cy="381103"/>
            <a:chOff x="-1" y="6496048"/>
            <a:chExt cx="12192001" cy="361952"/>
          </a:xfrm>
        </p:grpSpPr>
        <p:sp>
          <p:nvSpPr>
            <p:cNvPr id="17" name="Dikdörtgen 10">
              <a:extLst>
                <a:ext uri="{FF2B5EF4-FFF2-40B4-BE49-F238E27FC236}">
                  <a16:creationId xmlns:a16="http://schemas.microsoft.com/office/drawing/2014/main" id="{C14596DF-271A-400A-B0AE-693FCDF2F217}"/>
                </a:ext>
              </a:extLst>
            </p:cNvPr>
            <p:cNvSpPr/>
            <p:nvPr/>
          </p:nvSpPr>
          <p:spPr>
            <a:xfrm>
              <a:off x="10115547" y="6496049"/>
              <a:ext cx="2076453" cy="361951"/>
            </a:xfrm>
            <a:prstGeom prst="rect">
              <a:avLst/>
            </a:prstGeom>
            <a:solidFill>
              <a:srgbClr val="2198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dirty="0"/>
                <a:t>   Özgür Martin</a:t>
              </a:r>
            </a:p>
          </p:txBody>
        </p:sp>
        <p:sp>
          <p:nvSpPr>
            <p:cNvPr id="18" name="Dikdörtgen 10">
              <a:extLst>
                <a:ext uri="{FF2B5EF4-FFF2-40B4-BE49-F238E27FC236}">
                  <a16:creationId xmlns:a16="http://schemas.microsoft.com/office/drawing/2014/main" id="{84A5B1F6-64B9-4792-8088-33FD44F5342F}"/>
                </a:ext>
              </a:extLst>
            </p:cNvPr>
            <p:cNvSpPr/>
            <p:nvPr/>
          </p:nvSpPr>
          <p:spPr>
            <a:xfrm>
              <a:off x="-1" y="6496048"/>
              <a:ext cx="10151743" cy="361952"/>
            </a:xfrm>
            <a:prstGeom prst="rect">
              <a:avLst/>
            </a:prstGeom>
            <a:solidFill>
              <a:srgbClr val="2198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altLang="ko-KR" dirty="0" err="1">
                  <a:solidFill>
                    <a:schemeClr val="bg1"/>
                  </a:solidFill>
                  <a:cs typeface="Arial" pitchFamily="34" charset="0"/>
                </a:rPr>
                <a:t>Neural</a:t>
              </a:r>
              <a:r>
                <a:rPr lang="tr-TR" altLang="ko-KR" dirty="0">
                  <a:solidFill>
                    <a:schemeClr val="bg1"/>
                  </a:solidFill>
                  <a:cs typeface="Arial" pitchFamily="34" charset="0"/>
                </a:rPr>
                <a:t> Networks</a:t>
              </a: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A5836FCC-F6E5-75AA-4783-94E601D31B83}"/>
              </a:ext>
            </a:extLst>
          </p:cNvPr>
          <p:cNvSpPr txBox="1"/>
          <p:nvPr/>
        </p:nvSpPr>
        <p:spPr>
          <a:xfrm>
            <a:off x="255198" y="244522"/>
            <a:ext cx="253880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nalysi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CEBC1DB-23AC-60EF-6A91-8CAF47A42DF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46621" y="975932"/>
            <a:ext cx="6000750" cy="790575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66435789-A998-15CB-CCDD-B21DDDC811C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209800" y="2288523"/>
            <a:ext cx="7772400" cy="1366058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E8C308B3-DFDF-EEAB-59F1-7DC05AA7295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209800" y="3917196"/>
            <a:ext cx="7772400" cy="919418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4CBDD766-A9D5-A265-508C-36D688C7F94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483355" y="4889228"/>
            <a:ext cx="4876800" cy="47625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42B1024-CD9E-92B2-2EA4-BC0E91A9C1E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483355" y="5418092"/>
            <a:ext cx="5362575" cy="47625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1F39314D-285A-58FD-5007-75B2781E4BE6}"/>
              </a:ext>
            </a:extLst>
          </p:cNvPr>
          <p:cNvSpPr/>
          <p:nvPr/>
        </p:nvSpPr>
        <p:spPr>
          <a:xfrm>
            <a:off x="2074277" y="2104038"/>
            <a:ext cx="8248010" cy="3902258"/>
          </a:xfrm>
          <a:prstGeom prst="rect">
            <a:avLst/>
          </a:prstGeom>
          <a:noFill/>
          <a:ln>
            <a:solidFill>
              <a:srgbClr val="C00000"/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7DCC1C1-80B8-C8A3-8066-B46E224E068D}"/>
              </a:ext>
            </a:extLst>
          </p:cNvPr>
          <p:cNvSpPr/>
          <p:nvPr/>
        </p:nvSpPr>
        <p:spPr>
          <a:xfrm>
            <a:off x="2074277" y="851704"/>
            <a:ext cx="8248010" cy="989719"/>
          </a:xfrm>
          <a:prstGeom prst="rect">
            <a:avLst/>
          </a:prstGeom>
          <a:noFill/>
          <a:ln>
            <a:solidFill>
              <a:srgbClr val="C00000"/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547886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E6EF2DD4-1428-4F29-BED0-012580DEB727}"/>
              </a:ext>
            </a:extLst>
          </p:cNvPr>
          <p:cNvGrpSpPr/>
          <p:nvPr/>
        </p:nvGrpSpPr>
        <p:grpSpPr>
          <a:xfrm>
            <a:off x="1" y="6496048"/>
            <a:ext cx="12192000" cy="381103"/>
            <a:chOff x="-1" y="6496048"/>
            <a:chExt cx="12192001" cy="361952"/>
          </a:xfrm>
        </p:grpSpPr>
        <p:sp>
          <p:nvSpPr>
            <p:cNvPr id="17" name="Dikdörtgen 10">
              <a:extLst>
                <a:ext uri="{FF2B5EF4-FFF2-40B4-BE49-F238E27FC236}">
                  <a16:creationId xmlns:a16="http://schemas.microsoft.com/office/drawing/2014/main" id="{C14596DF-271A-400A-B0AE-693FCDF2F217}"/>
                </a:ext>
              </a:extLst>
            </p:cNvPr>
            <p:cNvSpPr/>
            <p:nvPr/>
          </p:nvSpPr>
          <p:spPr>
            <a:xfrm>
              <a:off x="10115547" y="6496049"/>
              <a:ext cx="2076453" cy="361951"/>
            </a:xfrm>
            <a:prstGeom prst="rect">
              <a:avLst/>
            </a:prstGeom>
            <a:solidFill>
              <a:srgbClr val="2198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dirty="0"/>
                <a:t>   Özgür Martin</a:t>
              </a:r>
            </a:p>
          </p:txBody>
        </p:sp>
        <p:sp>
          <p:nvSpPr>
            <p:cNvPr id="18" name="Dikdörtgen 10">
              <a:extLst>
                <a:ext uri="{FF2B5EF4-FFF2-40B4-BE49-F238E27FC236}">
                  <a16:creationId xmlns:a16="http://schemas.microsoft.com/office/drawing/2014/main" id="{84A5B1F6-64B9-4792-8088-33FD44F5342F}"/>
                </a:ext>
              </a:extLst>
            </p:cNvPr>
            <p:cNvSpPr/>
            <p:nvPr/>
          </p:nvSpPr>
          <p:spPr>
            <a:xfrm>
              <a:off x="-1" y="6496048"/>
              <a:ext cx="10151743" cy="361952"/>
            </a:xfrm>
            <a:prstGeom prst="rect">
              <a:avLst/>
            </a:prstGeom>
            <a:solidFill>
              <a:srgbClr val="2198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altLang="ko-KR" dirty="0" err="1">
                  <a:solidFill>
                    <a:schemeClr val="bg1"/>
                  </a:solidFill>
                  <a:cs typeface="Arial" pitchFamily="34" charset="0"/>
                </a:rPr>
                <a:t>Neural</a:t>
              </a:r>
              <a:r>
                <a:rPr lang="tr-TR" altLang="ko-KR" dirty="0">
                  <a:solidFill>
                    <a:schemeClr val="bg1"/>
                  </a:solidFill>
                  <a:cs typeface="Arial" pitchFamily="34" charset="0"/>
                </a:rPr>
                <a:t> Networks</a:t>
              </a: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A5836FCC-F6E5-75AA-4783-94E601D31B83}"/>
              </a:ext>
            </a:extLst>
          </p:cNvPr>
          <p:cNvSpPr txBox="1"/>
          <p:nvPr/>
        </p:nvSpPr>
        <p:spPr>
          <a:xfrm>
            <a:off x="255198" y="244522"/>
            <a:ext cx="253880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nalysis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9C77363-505C-DA79-1ABF-D713D80DE6F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34348" y="1584623"/>
            <a:ext cx="7620000" cy="29527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D45E11DF-0EF0-E810-19DF-E30070C8B64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234348" y="2649611"/>
            <a:ext cx="7772400" cy="2196547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837E24F9-EE53-4600-0C47-F03CC31A2AAD}"/>
              </a:ext>
            </a:extLst>
          </p:cNvPr>
          <p:cNvSpPr/>
          <p:nvPr/>
        </p:nvSpPr>
        <p:spPr>
          <a:xfrm>
            <a:off x="2081373" y="1350122"/>
            <a:ext cx="8013849" cy="834620"/>
          </a:xfrm>
          <a:prstGeom prst="rect">
            <a:avLst/>
          </a:prstGeom>
          <a:noFill/>
          <a:ln>
            <a:solidFill>
              <a:srgbClr val="C00000"/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7AA76BD-D15C-F435-6C32-45B046148B09}"/>
              </a:ext>
            </a:extLst>
          </p:cNvPr>
          <p:cNvSpPr/>
          <p:nvPr/>
        </p:nvSpPr>
        <p:spPr>
          <a:xfrm>
            <a:off x="2097227" y="2356414"/>
            <a:ext cx="8013849" cy="2724950"/>
          </a:xfrm>
          <a:prstGeom prst="rect">
            <a:avLst/>
          </a:prstGeom>
          <a:noFill/>
          <a:ln>
            <a:solidFill>
              <a:srgbClr val="C00000"/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6040598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3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E6EF2DD4-1428-4F29-BED0-012580DEB727}"/>
              </a:ext>
            </a:extLst>
          </p:cNvPr>
          <p:cNvGrpSpPr/>
          <p:nvPr/>
        </p:nvGrpSpPr>
        <p:grpSpPr>
          <a:xfrm>
            <a:off x="1" y="6496048"/>
            <a:ext cx="12192000" cy="381103"/>
            <a:chOff x="-1" y="6496048"/>
            <a:chExt cx="12192001" cy="361952"/>
          </a:xfrm>
        </p:grpSpPr>
        <p:sp>
          <p:nvSpPr>
            <p:cNvPr id="17" name="Dikdörtgen 10">
              <a:extLst>
                <a:ext uri="{FF2B5EF4-FFF2-40B4-BE49-F238E27FC236}">
                  <a16:creationId xmlns:a16="http://schemas.microsoft.com/office/drawing/2014/main" id="{C14596DF-271A-400A-B0AE-693FCDF2F217}"/>
                </a:ext>
              </a:extLst>
            </p:cNvPr>
            <p:cNvSpPr/>
            <p:nvPr/>
          </p:nvSpPr>
          <p:spPr>
            <a:xfrm>
              <a:off x="10115547" y="6496049"/>
              <a:ext cx="2076453" cy="361951"/>
            </a:xfrm>
            <a:prstGeom prst="rect">
              <a:avLst/>
            </a:prstGeom>
            <a:solidFill>
              <a:srgbClr val="2198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dirty="0"/>
                <a:t>   Özgür Martin</a:t>
              </a:r>
            </a:p>
          </p:txBody>
        </p:sp>
        <p:sp>
          <p:nvSpPr>
            <p:cNvPr id="18" name="Dikdörtgen 10">
              <a:extLst>
                <a:ext uri="{FF2B5EF4-FFF2-40B4-BE49-F238E27FC236}">
                  <a16:creationId xmlns:a16="http://schemas.microsoft.com/office/drawing/2014/main" id="{84A5B1F6-64B9-4792-8088-33FD44F5342F}"/>
                </a:ext>
              </a:extLst>
            </p:cNvPr>
            <p:cNvSpPr/>
            <p:nvPr/>
          </p:nvSpPr>
          <p:spPr>
            <a:xfrm>
              <a:off x="-1" y="6496048"/>
              <a:ext cx="10151743" cy="361952"/>
            </a:xfrm>
            <a:prstGeom prst="rect">
              <a:avLst/>
            </a:prstGeom>
            <a:solidFill>
              <a:srgbClr val="2198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altLang="ko-KR" dirty="0" err="1">
                  <a:solidFill>
                    <a:schemeClr val="bg1"/>
                  </a:solidFill>
                  <a:cs typeface="Arial" pitchFamily="34" charset="0"/>
                </a:rPr>
                <a:t>Neural</a:t>
              </a:r>
              <a:r>
                <a:rPr lang="tr-TR" altLang="ko-KR" dirty="0">
                  <a:solidFill>
                    <a:schemeClr val="bg1"/>
                  </a:solidFill>
                  <a:cs typeface="Arial" pitchFamily="34" charset="0"/>
                </a:rPr>
                <a:t> Networks</a:t>
              </a: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30486612-F064-8725-E84E-DF25C2F3773C}"/>
              </a:ext>
            </a:extLst>
          </p:cNvPr>
          <p:cNvSpPr txBox="1"/>
          <p:nvPr/>
        </p:nvSpPr>
        <p:spPr>
          <a:xfrm>
            <a:off x="255198" y="244522"/>
            <a:ext cx="253880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nalysi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A1C9F86-3F4B-D743-873F-AFEF039F250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20249" y="2725432"/>
            <a:ext cx="3371850" cy="47625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5127673-8530-B287-CBC2-7CAB32775DE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193862" y="499168"/>
            <a:ext cx="2617649" cy="73977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46483497-0105-841C-50AB-BC9BD0A6C64B}"/>
              </a:ext>
            </a:extLst>
          </p:cNvPr>
          <p:cNvSpPr/>
          <p:nvPr/>
        </p:nvSpPr>
        <p:spPr>
          <a:xfrm>
            <a:off x="9101041" y="438765"/>
            <a:ext cx="2835761" cy="870211"/>
          </a:xfrm>
          <a:prstGeom prst="rect">
            <a:avLst/>
          </a:prstGeom>
          <a:noFill/>
          <a:ln>
            <a:solidFill>
              <a:srgbClr val="C00000"/>
            </a:solidFill>
            <a:prstDash val="dash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948D8F4-1CF6-F28E-01F4-F5B60854614C}"/>
              </a:ext>
            </a:extLst>
          </p:cNvPr>
          <p:cNvSpPr/>
          <p:nvPr/>
        </p:nvSpPr>
        <p:spPr>
          <a:xfrm>
            <a:off x="2069099" y="1412338"/>
            <a:ext cx="7909521" cy="4698021"/>
          </a:xfrm>
          <a:prstGeom prst="rect">
            <a:avLst/>
          </a:prstGeom>
          <a:noFill/>
          <a:ln>
            <a:solidFill>
              <a:srgbClr val="C00000"/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9D74256-0525-AF8C-D5DB-629FB6AD702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209800" y="3398829"/>
            <a:ext cx="7629525" cy="257175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4871B2B-747F-C86F-9CFC-2A14CA59691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209800" y="1645497"/>
            <a:ext cx="7458075" cy="92392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747503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E6EF2DD4-1428-4F29-BED0-012580DEB727}"/>
              </a:ext>
            </a:extLst>
          </p:cNvPr>
          <p:cNvGrpSpPr/>
          <p:nvPr/>
        </p:nvGrpSpPr>
        <p:grpSpPr>
          <a:xfrm>
            <a:off x="1" y="6496048"/>
            <a:ext cx="12192000" cy="381103"/>
            <a:chOff x="-1" y="6496048"/>
            <a:chExt cx="12192001" cy="361952"/>
          </a:xfrm>
        </p:grpSpPr>
        <p:sp>
          <p:nvSpPr>
            <p:cNvPr id="17" name="Dikdörtgen 10">
              <a:extLst>
                <a:ext uri="{FF2B5EF4-FFF2-40B4-BE49-F238E27FC236}">
                  <a16:creationId xmlns:a16="http://schemas.microsoft.com/office/drawing/2014/main" id="{C14596DF-271A-400A-B0AE-693FCDF2F217}"/>
                </a:ext>
              </a:extLst>
            </p:cNvPr>
            <p:cNvSpPr/>
            <p:nvPr/>
          </p:nvSpPr>
          <p:spPr>
            <a:xfrm>
              <a:off x="10115547" y="6496049"/>
              <a:ext cx="2076453" cy="361951"/>
            </a:xfrm>
            <a:prstGeom prst="rect">
              <a:avLst/>
            </a:prstGeom>
            <a:solidFill>
              <a:srgbClr val="2198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dirty="0"/>
                <a:t>   Özgür Martin</a:t>
              </a:r>
            </a:p>
          </p:txBody>
        </p:sp>
        <p:sp>
          <p:nvSpPr>
            <p:cNvPr id="18" name="Dikdörtgen 10">
              <a:extLst>
                <a:ext uri="{FF2B5EF4-FFF2-40B4-BE49-F238E27FC236}">
                  <a16:creationId xmlns:a16="http://schemas.microsoft.com/office/drawing/2014/main" id="{84A5B1F6-64B9-4792-8088-33FD44F5342F}"/>
                </a:ext>
              </a:extLst>
            </p:cNvPr>
            <p:cNvSpPr/>
            <p:nvPr/>
          </p:nvSpPr>
          <p:spPr>
            <a:xfrm>
              <a:off x="-1" y="6496048"/>
              <a:ext cx="10151743" cy="361952"/>
            </a:xfrm>
            <a:prstGeom prst="rect">
              <a:avLst/>
            </a:prstGeom>
            <a:solidFill>
              <a:srgbClr val="2198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altLang="ko-KR" dirty="0" err="1">
                  <a:solidFill>
                    <a:schemeClr val="bg1"/>
                  </a:solidFill>
                  <a:cs typeface="Arial" pitchFamily="34" charset="0"/>
                </a:rPr>
                <a:t>Neural</a:t>
              </a:r>
              <a:r>
                <a:rPr lang="tr-TR" altLang="ko-KR" dirty="0">
                  <a:solidFill>
                    <a:schemeClr val="bg1"/>
                  </a:solidFill>
                  <a:cs typeface="Arial" pitchFamily="34" charset="0"/>
                </a:rPr>
                <a:t> Networks</a:t>
              </a: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DA206B33-D595-586D-C9CC-5D4C89F445EB}"/>
              </a:ext>
            </a:extLst>
          </p:cNvPr>
          <p:cNvSpPr txBox="1"/>
          <p:nvPr/>
        </p:nvSpPr>
        <p:spPr>
          <a:xfrm>
            <a:off x="255198" y="244522"/>
            <a:ext cx="253880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nalysi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5AF86D4-EA52-4DCB-F4FE-B2CF5A115CB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07991" y="1352550"/>
            <a:ext cx="7858125" cy="41529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64B91EDE-3F9A-0DA8-3E2B-6B67681EBE8D}"/>
              </a:ext>
            </a:extLst>
          </p:cNvPr>
          <p:cNvSpPr/>
          <p:nvPr/>
        </p:nvSpPr>
        <p:spPr>
          <a:xfrm>
            <a:off x="2127912" y="1178287"/>
            <a:ext cx="8182102" cy="4492220"/>
          </a:xfrm>
          <a:prstGeom prst="rect">
            <a:avLst/>
          </a:prstGeom>
          <a:noFill/>
          <a:ln>
            <a:solidFill>
              <a:srgbClr val="C00000"/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31325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E6EF2DD4-1428-4F29-BED0-012580DEB727}"/>
              </a:ext>
            </a:extLst>
          </p:cNvPr>
          <p:cNvGrpSpPr/>
          <p:nvPr/>
        </p:nvGrpSpPr>
        <p:grpSpPr>
          <a:xfrm>
            <a:off x="1" y="6496048"/>
            <a:ext cx="12192000" cy="381103"/>
            <a:chOff x="-1" y="6496048"/>
            <a:chExt cx="12192001" cy="361952"/>
          </a:xfrm>
        </p:grpSpPr>
        <p:sp>
          <p:nvSpPr>
            <p:cNvPr id="17" name="Dikdörtgen 10">
              <a:extLst>
                <a:ext uri="{FF2B5EF4-FFF2-40B4-BE49-F238E27FC236}">
                  <a16:creationId xmlns:a16="http://schemas.microsoft.com/office/drawing/2014/main" id="{C14596DF-271A-400A-B0AE-693FCDF2F217}"/>
                </a:ext>
              </a:extLst>
            </p:cNvPr>
            <p:cNvSpPr/>
            <p:nvPr/>
          </p:nvSpPr>
          <p:spPr>
            <a:xfrm>
              <a:off x="10115547" y="6496049"/>
              <a:ext cx="2076453" cy="361951"/>
            </a:xfrm>
            <a:prstGeom prst="rect">
              <a:avLst/>
            </a:prstGeom>
            <a:solidFill>
              <a:srgbClr val="2198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dirty="0"/>
                <a:t>   Özgür Martin</a:t>
              </a:r>
            </a:p>
          </p:txBody>
        </p:sp>
        <p:sp>
          <p:nvSpPr>
            <p:cNvPr id="18" name="Dikdörtgen 10">
              <a:extLst>
                <a:ext uri="{FF2B5EF4-FFF2-40B4-BE49-F238E27FC236}">
                  <a16:creationId xmlns:a16="http://schemas.microsoft.com/office/drawing/2014/main" id="{84A5B1F6-64B9-4792-8088-33FD44F5342F}"/>
                </a:ext>
              </a:extLst>
            </p:cNvPr>
            <p:cNvSpPr/>
            <p:nvPr/>
          </p:nvSpPr>
          <p:spPr>
            <a:xfrm>
              <a:off x="-1" y="6496048"/>
              <a:ext cx="10151743" cy="361952"/>
            </a:xfrm>
            <a:prstGeom prst="rect">
              <a:avLst/>
            </a:prstGeom>
            <a:solidFill>
              <a:srgbClr val="2198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altLang="ko-KR" dirty="0" err="1">
                  <a:solidFill>
                    <a:schemeClr val="bg1"/>
                  </a:solidFill>
                  <a:cs typeface="Arial" pitchFamily="34" charset="0"/>
                </a:rPr>
                <a:t>Neural</a:t>
              </a:r>
              <a:r>
                <a:rPr lang="tr-TR" altLang="ko-KR" dirty="0">
                  <a:solidFill>
                    <a:schemeClr val="bg1"/>
                  </a:solidFill>
                  <a:cs typeface="Arial" pitchFamily="34" charset="0"/>
                </a:rPr>
                <a:t> Networks</a:t>
              </a: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DF45747C-FA72-5C17-1D31-56BC7FBC0BB8}"/>
              </a:ext>
            </a:extLst>
          </p:cNvPr>
          <p:cNvSpPr txBox="1"/>
          <p:nvPr/>
        </p:nvSpPr>
        <p:spPr>
          <a:xfrm>
            <a:off x="255198" y="84718"/>
            <a:ext cx="253880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nalysi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3CBC3BF-DDAB-E0BF-12F4-B352ED0E11EF}"/>
              </a:ext>
            </a:extLst>
          </p:cNvPr>
          <p:cNvSpPr/>
          <p:nvPr/>
        </p:nvSpPr>
        <p:spPr>
          <a:xfrm>
            <a:off x="2127912" y="613448"/>
            <a:ext cx="8182102" cy="5840226"/>
          </a:xfrm>
          <a:prstGeom prst="rect">
            <a:avLst/>
          </a:prstGeom>
          <a:noFill/>
          <a:ln>
            <a:solidFill>
              <a:srgbClr val="C00000"/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50501A-D337-2514-21B9-8A0F1CEBFFE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65033" y="797051"/>
            <a:ext cx="7848600" cy="120015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9B829DB-7AA1-35D2-1B96-246E61366A7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99708" y="2160035"/>
            <a:ext cx="3467100" cy="47625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4EBD0DF1-D6E6-752C-E117-E069A23C759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269795" y="2850504"/>
            <a:ext cx="7839075" cy="338137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564391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E6EF2DD4-1428-4F29-BED0-012580DEB727}"/>
              </a:ext>
            </a:extLst>
          </p:cNvPr>
          <p:cNvGrpSpPr/>
          <p:nvPr/>
        </p:nvGrpSpPr>
        <p:grpSpPr>
          <a:xfrm>
            <a:off x="1" y="6496048"/>
            <a:ext cx="12192000" cy="381103"/>
            <a:chOff x="-1" y="6496048"/>
            <a:chExt cx="12192001" cy="361952"/>
          </a:xfrm>
        </p:grpSpPr>
        <p:sp>
          <p:nvSpPr>
            <p:cNvPr id="17" name="Dikdörtgen 10">
              <a:extLst>
                <a:ext uri="{FF2B5EF4-FFF2-40B4-BE49-F238E27FC236}">
                  <a16:creationId xmlns:a16="http://schemas.microsoft.com/office/drawing/2014/main" id="{C14596DF-271A-400A-B0AE-693FCDF2F217}"/>
                </a:ext>
              </a:extLst>
            </p:cNvPr>
            <p:cNvSpPr/>
            <p:nvPr/>
          </p:nvSpPr>
          <p:spPr>
            <a:xfrm>
              <a:off x="10115547" y="6496049"/>
              <a:ext cx="2076453" cy="361951"/>
            </a:xfrm>
            <a:prstGeom prst="rect">
              <a:avLst/>
            </a:prstGeom>
            <a:solidFill>
              <a:srgbClr val="2198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dirty="0"/>
                <a:t>   Özgür Martin</a:t>
              </a:r>
            </a:p>
          </p:txBody>
        </p:sp>
        <p:sp>
          <p:nvSpPr>
            <p:cNvPr id="18" name="Dikdörtgen 10">
              <a:extLst>
                <a:ext uri="{FF2B5EF4-FFF2-40B4-BE49-F238E27FC236}">
                  <a16:creationId xmlns:a16="http://schemas.microsoft.com/office/drawing/2014/main" id="{84A5B1F6-64B9-4792-8088-33FD44F5342F}"/>
                </a:ext>
              </a:extLst>
            </p:cNvPr>
            <p:cNvSpPr/>
            <p:nvPr/>
          </p:nvSpPr>
          <p:spPr>
            <a:xfrm>
              <a:off x="-1" y="6496048"/>
              <a:ext cx="10151743" cy="361952"/>
            </a:xfrm>
            <a:prstGeom prst="rect">
              <a:avLst/>
            </a:prstGeom>
            <a:solidFill>
              <a:srgbClr val="2198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altLang="ko-KR" dirty="0" err="1">
                  <a:solidFill>
                    <a:schemeClr val="bg1"/>
                  </a:solidFill>
                  <a:cs typeface="Arial" pitchFamily="34" charset="0"/>
                </a:rPr>
                <a:t>Neural</a:t>
              </a:r>
              <a:r>
                <a:rPr lang="tr-TR" altLang="ko-KR" dirty="0">
                  <a:solidFill>
                    <a:schemeClr val="bg1"/>
                  </a:solidFill>
                  <a:cs typeface="Arial" pitchFamily="34" charset="0"/>
                </a:rPr>
                <a:t> Networks</a:t>
              </a: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A2C9C5AE-6E17-823B-6357-13A4131418D1}"/>
              </a:ext>
            </a:extLst>
          </p:cNvPr>
          <p:cNvSpPr txBox="1"/>
          <p:nvPr/>
        </p:nvSpPr>
        <p:spPr>
          <a:xfrm>
            <a:off x="255198" y="244522"/>
            <a:ext cx="253880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GD Variants</a:t>
            </a:r>
            <a:endParaRPr lang="en-US" sz="1400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03C5E5D-0F0F-F888-01D5-FA43E8F901D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21687" y="1782036"/>
            <a:ext cx="8548623" cy="4540127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18E0D6BD-FFA3-B6E9-8339-ABDF133D688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38648" y="871307"/>
            <a:ext cx="3314700" cy="3175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182449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E6EF2DD4-1428-4F29-BED0-012580DEB727}"/>
              </a:ext>
            </a:extLst>
          </p:cNvPr>
          <p:cNvGrpSpPr/>
          <p:nvPr/>
        </p:nvGrpSpPr>
        <p:grpSpPr>
          <a:xfrm>
            <a:off x="1" y="6496048"/>
            <a:ext cx="12192000" cy="381103"/>
            <a:chOff x="-1" y="6496048"/>
            <a:chExt cx="12192001" cy="361952"/>
          </a:xfrm>
        </p:grpSpPr>
        <p:sp>
          <p:nvSpPr>
            <p:cNvPr id="17" name="Dikdörtgen 10">
              <a:extLst>
                <a:ext uri="{FF2B5EF4-FFF2-40B4-BE49-F238E27FC236}">
                  <a16:creationId xmlns:a16="http://schemas.microsoft.com/office/drawing/2014/main" id="{C14596DF-271A-400A-B0AE-693FCDF2F217}"/>
                </a:ext>
              </a:extLst>
            </p:cNvPr>
            <p:cNvSpPr/>
            <p:nvPr/>
          </p:nvSpPr>
          <p:spPr>
            <a:xfrm>
              <a:off x="10115547" y="6496049"/>
              <a:ext cx="2076453" cy="361951"/>
            </a:xfrm>
            <a:prstGeom prst="rect">
              <a:avLst/>
            </a:prstGeom>
            <a:solidFill>
              <a:srgbClr val="2198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dirty="0"/>
                <a:t>   Özgür Martin</a:t>
              </a:r>
            </a:p>
          </p:txBody>
        </p:sp>
        <p:sp>
          <p:nvSpPr>
            <p:cNvPr id="18" name="Dikdörtgen 10">
              <a:extLst>
                <a:ext uri="{FF2B5EF4-FFF2-40B4-BE49-F238E27FC236}">
                  <a16:creationId xmlns:a16="http://schemas.microsoft.com/office/drawing/2014/main" id="{84A5B1F6-64B9-4792-8088-33FD44F5342F}"/>
                </a:ext>
              </a:extLst>
            </p:cNvPr>
            <p:cNvSpPr/>
            <p:nvPr/>
          </p:nvSpPr>
          <p:spPr>
            <a:xfrm>
              <a:off x="-1" y="6496048"/>
              <a:ext cx="10151743" cy="361952"/>
            </a:xfrm>
            <a:prstGeom prst="rect">
              <a:avLst/>
            </a:prstGeom>
            <a:solidFill>
              <a:srgbClr val="2198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altLang="ko-KR" dirty="0" err="1">
                  <a:solidFill>
                    <a:schemeClr val="bg1"/>
                  </a:solidFill>
                  <a:cs typeface="Arial" pitchFamily="34" charset="0"/>
                </a:rPr>
                <a:t>Neural</a:t>
              </a:r>
              <a:r>
                <a:rPr lang="tr-TR" altLang="ko-KR" dirty="0">
                  <a:solidFill>
                    <a:schemeClr val="bg1"/>
                  </a:solidFill>
                  <a:cs typeface="Arial" pitchFamily="34" charset="0"/>
                </a:rPr>
                <a:t> Networks</a:t>
              </a:r>
            </a:p>
          </p:txBody>
        </p:sp>
      </p:grpSp>
      <p:sp>
        <p:nvSpPr>
          <p:cNvPr id="5" name="CustomShape 1">
            <a:extLst>
              <a:ext uri="{FF2B5EF4-FFF2-40B4-BE49-F238E27FC236}">
                <a16:creationId xmlns:a16="http://schemas.microsoft.com/office/drawing/2014/main" id="{9D75086B-2554-E8A9-77A8-A7A625DE544A}"/>
              </a:ext>
            </a:extLst>
          </p:cNvPr>
          <p:cNvSpPr/>
          <p:nvPr/>
        </p:nvSpPr>
        <p:spPr>
          <a:xfrm>
            <a:off x="5304189" y="896555"/>
            <a:ext cx="1685880" cy="444312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round/>
          </a:ln>
          <a:effectLst>
            <a:outerShdw blurRad="40000" dist="20160" dir="5400000" rotWithShape="0">
              <a:srgbClr val="000000">
                <a:alpha val="38000"/>
              </a:srgb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/>
        </p:style>
      </p:sp>
      <p:sp>
        <p:nvSpPr>
          <p:cNvPr id="6" name="CustomShape 2">
            <a:extLst>
              <a:ext uri="{FF2B5EF4-FFF2-40B4-BE49-F238E27FC236}">
                <a16:creationId xmlns:a16="http://schemas.microsoft.com/office/drawing/2014/main" id="{DFFB71BA-DE36-9C66-9CB4-8C7552B7D473}"/>
              </a:ext>
            </a:extLst>
          </p:cNvPr>
          <p:cNvSpPr/>
          <p:nvPr/>
        </p:nvSpPr>
        <p:spPr>
          <a:xfrm>
            <a:off x="267429" y="148835"/>
            <a:ext cx="8170920" cy="106488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>
            <a:noAutofit/>
          </a:bodyPr>
          <a:lstStyle/>
          <a:p>
            <a:pPr>
              <a:lnSpc>
                <a:spcPts val="3200"/>
              </a:lnSpc>
            </a:pPr>
            <a:r>
              <a:rPr lang="en-US" sz="2800" b="0" strike="noStrike" spc="-1" dirty="0">
                <a:solidFill>
                  <a:srgbClr val="AB3348"/>
                </a:solidFill>
                <a:latin typeface="Times New Roman"/>
                <a:ea typeface="DejaVu Sans"/>
              </a:rPr>
              <a:t>T</a:t>
            </a:r>
            <a:r>
              <a:rPr lang="tr-TR" sz="2800" b="0" strike="noStrike" spc="-1" dirty="0" err="1">
                <a:solidFill>
                  <a:srgbClr val="AB3348"/>
                </a:solidFill>
                <a:latin typeface="Times New Roman"/>
                <a:ea typeface="DejaVu Sans"/>
              </a:rPr>
              <a:t>hree</a:t>
            </a:r>
            <a:r>
              <a:rPr lang="en-US" sz="2800" b="0" strike="noStrike" spc="-1" dirty="0">
                <a:solidFill>
                  <a:srgbClr val="AB3348"/>
                </a:solidFill>
                <a:latin typeface="Times New Roman"/>
                <a:ea typeface="DejaVu Sans"/>
              </a:rPr>
              <a:t>-Layer (Feed-Forward) Neural Network</a:t>
            </a:r>
            <a:endParaRPr lang="en-US" sz="2800" b="0" strike="noStrike" spc="-1" dirty="0">
              <a:latin typeface="Arial"/>
            </a:endParaRPr>
          </a:p>
        </p:txBody>
      </p:sp>
      <p:sp>
        <p:nvSpPr>
          <p:cNvPr id="7" name="CustomShape 3">
            <a:extLst>
              <a:ext uri="{FF2B5EF4-FFF2-40B4-BE49-F238E27FC236}">
                <a16:creationId xmlns:a16="http://schemas.microsoft.com/office/drawing/2014/main" id="{13AC59AD-700E-58E4-9FA6-2E0AAC6D0648}"/>
              </a:ext>
            </a:extLst>
          </p:cNvPr>
          <p:cNvSpPr/>
          <p:nvPr/>
        </p:nvSpPr>
        <p:spPr>
          <a:xfrm>
            <a:off x="2580069" y="1757675"/>
            <a:ext cx="290520" cy="290520"/>
          </a:xfrm>
          <a:prstGeom prst="ellipse">
            <a:avLst/>
          </a:prstGeom>
          <a:ln>
            <a:rou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/>
        </p:style>
      </p:sp>
      <p:sp>
        <p:nvSpPr>
          <p:cNvPr id="8" name="CustomShape 4">
            <a:extLst>
              <a:ext uri="{FF2B5EF4-FFF2-40B4-BE49-F238E27FC236}">
                <a16:creationId xmlns:a16="http://schemas.microsoft.com/office/drawing/2014/main" id="{9038DB3D-892A-32CD-0C47-37A9F3A364EB}"/>
              </a:ext>
            </a:extLst>
          </p:cNvPr>
          <p:cNvSpPr/>
          <p:nvPr/>
        </p:nvSpPr>
        <p:spPr>
          <a:xfrm>
            <a:off x="2580069" y="2684315"/>
            <a:ext cx="290520" cy="290520"/>
          </a:xfrm>
          <a:prstGeom prst="ellipse">
            <a:avLst/>
          </a:prstGeom>
          <a:ln>
            <a:rou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/>
        </p:style>
      </p:sp>
      <p:sp>
        <p:nvSpPr>
          <p:cNvPr id="9" name="CustomShape 5">
            <a:extLst>
              <a:ext uri="{FF2B5EF4-FFF2-40B4-BE49-F238E27FC236}">
                <a16:creationId xmlns:a16="http://schemas.microsoft.com/office/drawing/2014/main" id="{6B5AD502-6D96-EDA3-A337-21E47CE2A069}"/>
              </a:ext>
            </a:extLst>
          </p:cNvPr>
          <p:cNvSpPr/>
          <p:nvPr/>
        </p:nvSpPr>
        <p:spPr>
          <a:xfrm>
            <a:off x="2580069" y="3743795"/>
            <a:ext cx="290520" cy="290520"/>
          </a:xfrm>
          <a:prstGeom prst="ellipse">
            <a:avLst/>
          </a:prstGeom>
          <a:ln>
            <a:rou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/>
        </p:style>
      </p:sp>
      <p:sp>
        <p:nvSpPr>
          <p:cNvPr id="10" name="CustomShape 6">
            <a:extLst>
              <a:ext uri="{FF2B5EF4-FFF2-40B4-BE49-F238E27FC236}">
                <a16:creationId xmlns:a16="http://schemas.microsoft.com/office/drawing/2014/main" id="{173F9E16-B1C7-055B-E579-B6406EEB9534}"/>
              </a:ext>
            </a:extLst>
          </p:cNvPr>
          <p:cNvSpPr/>
          <p:nvPr/>
        </p:nvSpPr>
        <p:spPr>
          <a:xfrm>
            <a:off x="5978109" y="1270955"/>
            <a:ext cx="290520" cy="290520"/>
          </a:xfrm>
          <a:prstGeom prst="ellipse">
            <a:avLst/>
          </a:prstGeom>
          <a:ln>
            <a:rou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/>
        </p:style>
      </p:sp>
      <p:sp>
        <p:nvSpPr>
          <p:cNvPr id="11" name="CustomShape 7">
            <a:extLst>
              <a:ext uri="{FF2B5EF4-FFF2-40B4-BE49-F238E27FC236}">
                <a16:creationId xmlns:a16="http://schemas.microsoft.com/office/drawing/2014/main" id="{89F9C0EF-4DF7-9AC5-6663-7A6BE6A07C83}"/>
              </a:ext>
            </a:extLst>
          </p:cNvPr>
          <p:cNvSpPr/>
          <p:nvPr/>
        </p:nvSpPr>
        <p:spPr>
          <a:xfrm>
            <a:off x="5978109" y="3801035"/>
            <a:ext cx="290520" cy="290520"/>
          </a:xfrm>
          <a:prstGeom prst="ellipse">
            <a:avLst/>
          </a:prstGeom>
          <a:ln>
            <a:rou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/>
        </p:style>
      </p:sp>
      <p:sp>
        <p:nvSpPr>
          <p:cNvPr id="12" name="CustomShape 8">
            <a:extLst>
              <a:ext uri="{FF2B5EF4-FFF2-40B4-BE49-F238E27FC236}">
                <a16:creationId xmlns:a16="http://schemas.microsoft.com/office/drawing/2014/main" id="{6680272D-4F4B-F678-17BA-F20062808620}"/>
              </a:ext>
            </a:extLst>
          </p:cNvPr>
          <p:cNvSpPr/>
          <p:nvPr/>
        </p:nvSpPr>
        <p:spPr>
          <a:xfrm>
            <a:off x="9327549" y="1814915"/>
            <a:ext cx="290520" cy="290520"/>
          </a:xfrm>
          <a:prstGeom prst="ellipse">
            <a:avLst/>
          </a:prstGeom>
          <a:ln>
            <a:rou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/>
        </p:style>
      </p:sp>
      <p:sp>
        <p:nvSpPr>
          <p:cNvPr id="13" name="CustomShape 9">
            <a:extLst>
              <a:ext uri="{FF2B5EF4-FFF2-40B4-BE49-F238E27FC236}">
                <a16:creationId xmlns:a16="http://schemas.microsoft.com/office/drawing/2014/main" id="{B31D6295-37EA-76BA-543A-9C4AEE9FE4A6}"/>
              </a:ext>
            </a:extLst>
          </p:cNvPr>
          <p:cNvSpPr/>
          <p:nvPr/>
        </p:nvSpPr>
        <p:spPr>
          <a:xfrm>
            <a:off x="9327549" y="2953955"/>
            <a:ext cx="290520" cy="290520"/>
          </a:xfrm>
          <a:prstGeom prst="ellipse">
            <a:avLst/>
          </a:prstGeom>
          <a:ln>
            <a:rou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/>
        </p:style>
      </p:sp>
      <p:sp>
        <p:nvSpPr>
          <p:cNvPr id="14" name="CustomShape 10">
            <a:extLst>
              <a:ext uri="{FF2B5EF4-FFF2-40B4-BE49-F238E27FC236}">
                <a16:creationId xmlns:a16="http://schemas.microsoft.com/office/drawing/2014/main" id="{28A1CCB4-4D0D-A07C-6BA8-04F6093DE0E7}"/>
              </a:ext>
            </a:extLst>
          </p:cNvPr>
          <p:cNvSpPr/>
          <p:nvPr/>
        </p:nvSpPr>
        <p:spPr>
          <a:xfrm>
            <a:off x="9327549" y="4203875"/>
            <a:ext cx="290520" cy="290520"/>
          </a:xfrm>
          <a:prstGeom prst="ellipse">
            <a:avLst/>
          </a:prstGeom>
          <a:ln>
            <a:rou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/>
        </p:style>
      </p:sp>
      <p:sp>
        <p:nvSpPr>
          <p:cNvPr id="15" name="CustomShape 11">
            <a:extLst>
              <a:ext uri="{FF2B5EF4-FFF2-40B4-BE49-F238E27FC236}">
                <a16:creationId xmlns:a16="http://schemas.microsoft.com/office/drawing/2014/main" id="{BE8923D3-4BA1-86C4-4CD0-1B17A6036A0D}"/>
              </a:ext>
            </a:extLst>
          </p:cNvPr>
          <p:cNvSpPr/>
          <p:nvPr/>
        </p:nvSpPr>
        <p:spPr>
          <a:xfrm>
            <a:off x="5978109" y="2286875"/>
            <a:ext cx="290520" cy="290520"/>
          </a:xfrm>
          <a:prstGeom prst="ellipse">
            <a:avLst/>
          </a:prstGeom>
          <a:ln>
            <a:rou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/>
        </p:style>
      </p:sp>
      <p:sp>
        <p:nvSpPr>
          <p:cNvPr id="19" name="CustomShape 12">
            <a:extLst>
              <a:ext uri="{FF2B5EF4-FFF2-40B4-BE49-F238E27FC236}">
                <a16:creationId xmlns:a16="http://schemas.microsoft.com/office/drawing/2014/main" id="{DC239719-F0EA-8D81-9AFA-FE3B65076FCB}"/>
              </a:ext>
            </a:extLst>
          </p:cNvPr>
          <p:cNvSpPr/>
          <p:nvPr/>
        </p:nvSpPr>
        <p:spPr>
          <a:xfrm rot="5400000">
            <a:off x="2503749" y="2213795"/>
            <a:ext cx="527400" cy="36396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1800" b="1" strike="noStrike" spc="-1">
                <a:solidFill>
                  <a:srgbClr val="AB3348"/>
                </a:solidFill>
                <a:latin typeface="Times New Roman"/>
                <a:ea typeface="DejaVu Sans"/>
              </a:rPr>
              <a:t>. . . </a:t>
            </a:r>
            <a:endParaRPr lang="en-US" sz="1800" b="0" strike="noStrike" spc="-1">
              <a:latin typeface="Arial"/>
            </a:endParaRPr>
          </a:p>
        </p:txBody>
      </p:sp>
      <p:sp>
        <p:nvSpPr>
          <p:cNvPr id="20" name="CustomShape 13">
            <a:extLst>
              <a:ext uri="{FF2B5EF4-FFF2-40B4-BE49-F238E27FC236}">
                <a16:creationId xmlns:a16="http://schemas.microsoft.com/office/drawing/2014/main" id="{3DA87C8A-C0C0-1D65-9C6C-B3F3CA81240D}"/>
              </a:ext>
            </a:extLst>
          </p:cNvPr>
          <p:cNvSpPr/>
          <p:nvPr/>
        </p:nvSpPr>
        <p:spPr>
          <a:xfrm rot="5400000">
            <a:off x="2503749" y="3207395"/>
            <a:ext cx="527400" cy="36396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1800" b="1" strike="noStrike" spc="-1">
                <a:solidFill>
                  <a:srgbClr val="AB3348"/>
                </a:solidFill>
                <a:latin typeface="Times New Roman"/>
                <a:ea typeface="DejaVu Sans"/>
              </a:rPr>
              <a:t>. . . </a:t>
            </a:r>
            <a:endParaRPr lang="en-US" sz="1800" b="0" strike="noStrike" spc="-1">
              <a:latin typeface="Arial"/>
            </a:endParaRPr>
          </a:p>
        </p:txBody>
      </p:sp>
      <p:sp>
        <p:nvSpPr>
          <p:cNvPr id="21" name="CustomShape 14">
            <a:extLst>
              <a:ext uri="{FF2B5EF4-FFF2-40B4-BE49-F238E27FC236}">
                <a16:creationId xmlns:a16="http://schemas.microsoft.com/office/drawing/2014/main" id="{1FC6150C-2701-0BDE-96E3-9C0928979229}"/>
              </a:ext>
            </a:extLst>
          </p:cNvPr>
          <p:cNvSpPr/>
          <p:nvPr/>
        </p:nvSpPr>
        <p:spPr>
          <a:xfrm rot="5400000">
            <a:off x="5913669" y="1782515"/>
            <a:ext cx="527400" cy="36396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1800" b="1" strike="noStrike" spc="-1">
                <a:solidFill>
                  <a:srgbClr val="AB3348"/>
                </a:solidFill>
                <a:latin typeface="Times New Roman"/>
                <a:ea typeface="DejaVu Sans"/>
              </a:rPr>
              <a:t>. . . </a:t>
            </a:r>
            <a:endParaRPr lang="en-US" sz="1800" b="0" strike="noStrike" spc="-1">
              <a:latin typeface="Arial"/>
            </a:endParaRPr>
          </a:p>
        </p:txBody>
      </p:sp>
      <p:sp>
        <p:nvSpPr>
          <p:cNvPr id="22" name="CustomShape 15">
            <a:extLst>
              <a:ext uri="{FF2B5EF4-FFF2-40B4-BE49-F238E27FC236}">
                <a16:creationId xmlns:a16="http://schemas.microsoft.com/office/drawing/2014/main" id="{5FFC1AD9-C777-BBC6-D2DF-E7180F1797C9}"/>
              </a:ext>
            </a:extLst>
          </p:cNvPr>
          <p:cNvSpPr/>
          <p:nvPr/>
        </p:nvSpPr>
        <p:spPr>
          <a:xfrm rot="5400000">
            <a:off x="5913669" y="3070595"/>
            <a:ext cx="527400" cy="36396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1800" b="1" strike="noStrike" spc="-1">
                <a:solidFill>
                  <a:srgbClr val="AB3348"/>
                </a:solidFill>
                <a:latin typeface="Times New Roman"/>
                <a:ea typeface="DejaVu Sans"/>
              </a:rPr>
              <a:t>. . . </a:t>
            </a:r>
            <a:endParaRPr lang="en-US" sz="1800" b="0" strike="noStrike" spc="-1">
              <a:latin typeface="Arial"/>
            </a:endParaRPr>
          </a:p>
        </p:txBody>
      </p:sp>
      <p:sp>
        <p:nvSpPr>
          <p:cNvPr id="23" name="CustomShape 16">
            <a:extLst>
              <a:ext uri="{FF2B5EF4-FFF2-40B4-BE49-F238E27FC236}">
                <a16:creationId xmlns:a16="http://schemas.microsoft.com/office/drawing/2014/main" id="{9B91E06A-43BA-87B6-976F-D53C3EC0933B}"/>
              </a:ext>
            </a:extLst>
          </p:cNvPr>
          <p:cNvSpPr/>
          <p:nvPr/>
        </p:nvSpPr>
        <p:spPr>
          <a:xfrm rot="5400000">
            <a:off x="9252669" y="2286515"/>
            <a:ext cx="527400" cy="36396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1800" b="1" strike="noStrike" spc="-1">
                <a:solidFill>
                  <a:srgbClr val="AB3348"/>
                </a:solidFill>
                <a:latin typeface="Times New Roman"/>
                <a:ea typeface="DejaVu Sans"/>
              </a:rPr>
              <a:t>. . . </a:t>
            </a:r>
            <a:endParaRPr lang="en-US" sz="1800" b="0" strike="noStrike" spc="-1">
              <a:latin typeface="Arial"/>
            </a:endParaRPr>
          </a:p>
        </p:txBody>
      </p:sp>
      <p:sp>
        <p:nvSpPr>
          <p:cNvPr id="24" name="CustomShape 17">
            <a:extLst>
              <a:ext uri="{FF2B5EF4-FFF2-40B4-BE49-F238E27FC236}">
                <a16:creationId xmlns:a16="http://schemas.microsoft.com/office/drawing/2014/main" id="{EBD2F2E4-8517-1B8B-D9F4-9CFA05383248}"/>
              </a:ext>
            </a:extLst>
          </p:cNvPr>
          <p:cNvSpPr/>
          <p:nvPr/>
        </p:nvSpPr>
        <p:spPr>
          <a:xfrm rot="5400000">
            <a:off x="9252669" y="3497555"/>
            <a:ext cx="527400" cy="36396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1800" b="1" strike="noStrike" spc="-1">
                <a:solidFill>
                  <a:srgbClr val="AB3348"/>
                </a:solidFill>
                <a:latin typeface="Times New Roman"/>
                <a:ea typeface="DejaVu Sans"/>
              </a:rPr>
              <a:t>. . . </a:t>
            </a:r>
            <a:endParaRPr lang="en-US" sz="1800" b="0" strike="noStrike" spc="-1">
              <a:latin typeface="Arial"/>
            </a:endParaRPr>
          </a:p>
        </p:txBody>
      </p:sp>
      <p:sp>
        <p:nvSpPr>
          <p:cNvPr id="25" name="CustomShape 18">
            <a:extLst>
              <a:ext uri="{FF2B5EF4-FFF2-40B4-BE49-F238E27FC236}">
                <a16:creationId xmlns:a16="http://schemas.microsoft.com/office/drawing/2014/main" id="{6A5ECECB-B3DE-6B1B-5CB7-3BFB38259DDE}"/>
              </a:ext>
            </a:extLst>
          </p:cNvPr>
          <p:cNvSpPr/>
          <p:nvPr/>
        </p:nvSpPr>
        <p:spPr>
          <a:xfrm>
            <a:off x="2580069" y="4473875"/>
            <a:ext cx="290520" cy="290520"/>
          </a:xfrm>
          <a:prstGeom prst="ellipse">
            <a:avLst/>
          </a:prstGeom>
          <a:solidFill>
            <a:srgbClr val="AB3348"/>
          </a:solidFill>
          <a:ln>
            <a:rou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/>
        </p:style>
      </p:sp>
      <p:sp>
        <p:nvSpPr>
          <p:cNvPr id="26" name="CustomShape 19">
            <a:extLst>
              <a:ext uri="{FF2B5EF4-FFF2-40B4-BE49-F238E27FC236}">
                <a16:creationId xmlns:a16="http://schemas.microsoft.com/office/drawing/2014/main" id="{F29A964D-69B6-2923-4F80-0B0979F3724E}"/>
              </a:ext>
            </a:extLst>
          </p:cNvPr>
          <p:cNvSpPr/>
          <p:nvPr/>
        </p:nvSpPr>
        <p:spPr>
          <a:xfrm>
            <a:off x="5978109" y="4531115"/>
            <a:ext cx="290520" cy="290520"/>
          </a:xfrm>
          <a:prstGeom prst="ellipse">
            <a:avLst/>
          </a:prstGeom>
          <a:solidFill>
            <a:srgbClr val="AB3348"/>
          </a:solidFill>
          <a:ln>
            <a:rou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/>
        </p:style>
      </p:sp>
      <p:pic>
        <p:nvPicPr>
          <p:cNvPr id="27" name="Picture 5">
            <a:extLst>
              <a:ext uri="{FF2B5EF4-FFF2-40B4-BE49-F238E27FC236}">
                <a16:creationId xmlns:a16="http://schemas.microsoft.com/office/drawing/2014/main" id="{A1A4961A-AB7F-318B-B0F2-04645CDD70CB}"/>
              </a:ext>
            </a:extLst>
          </p:cNvPr>
          <p:cNvPicPr/>
          <p:nvPr/>
        </p:nvPicPr>
        <p:blipFill>
          <a:blip r:embed="rId4"/>
          <a:stretch/>
        </p:blipFill>
        <p:spPr>
          <a:xfrm>
            <a:off x="2183349" y="4609595"/>
            <a:ext cx="276120" cy="199080"/>
          </a:xfrm>
          <a:prstGeom prst="rect">
            <a:avLst/>
          </a:prstGeom>
          <a:ln>
            <a:noFill/>
          </a:ln>
        </p:spPr>
      </p:pic>
      <p:pic>
        <p:nvPicPr>
          <p:cNvPr id="28" name="Picture 7">
            <a:extLst>
              <a:ext uri="{FF2B5EF4-FFF2-40B4-BE49-F238E27FC236}">
                <a16:creationId xmlns:a16="http://schemas.microsoft.com/office/drawing/2014/main" id="{A8930FFB-D054-8972-B33D-FD1BA9517D10}"/>
              </a:ext>
            </a:extLst>
          </p:cNvPr>
          <p:cNvPicPr/>
          <p:nvPr/>
        </p:nvPicPr>
        <p:blipFill>
          <a:blip r:embed="rId5"/>
          <a:stretch/>
        </p:blipFill>
        <p:spPr>
          <a:xfrm>
            <a:off x="2183349" y="3790955"/>
            <a:ext cx="270360" cy="196200"/>
          </a:xfrm>
          <a:prstGeom prst="rect">
            <a:avLst/>
          </a:prstGeom>
          <a:ln>
            <a:noFill/>
          </a:ln>
        </p:spPr>
      </p:pic>
      <p:pic>
        <p:nvPicPr>
          <p:cNvPr id="29" name="Picture 9">
            <a:extLst>
              <a:ext uri="{FF2B5EF4-FFF2-40B4-BE49-F238E27FC236}">
                <a16:creationId xmlns:a16="http://schemas.microsoft.com/office/drawing/2014/main" id="{45E3B224-3FCE-1F04-0CAD-C46DE82415ED}"/>
              </a:ext>
            </a:extLst>
          </p:cNvPr>
          <p:cNvPicPr/>
          <p:nvPr/>
        </p:nvPicPr>
        <p:blipFill>
          <a:blip r:embed="rId6"/>
          <a:stretch/>
        </p:blipFill>
        <p:spPr>
          <a:xfrm>
            <a:off x="2183349" y="2732195"/>
            <a:ext cx="250560" cy="199080"/>
          </a:xfrm>
          <a:prstGeom prst="rect">
            <a:avLst/>
          </a:prstGeom>
          <a:ln>
            <a:noFill/>
          </a:ln>
        </p:spPr>
      </p:pic>
      <p:pic>
        <p:nvPicPr>
          <p:cNvPr id="30" name="Picture 35">
            <a:extLst>
              <a:ext uri="{FF2B5EF4-FFF2-40B4-BE49-F238E27FC236}">
                <a16:creationId xmlns:a16="http://schemas.microsoft.com/office/drawing/2014/main" id="{7894FCDC-534C-AEB4-5318-2A685B51C30D}"/>
              </a:ext>
            </a:extLst>
          </p:cNvPr>
          <p:cNvPicPr/>
          <p:nvPr/>
        </p:nvPicPr>
        <p:blipFill>
          <a:blip r:embed="rId7"/>
          <a:stretch/>
        </p:blipFill>
        <p:spPr>
          <a:xfrm>
            <a:off x="2183349" y="1797635"/>
            <a:ext cx="284760" cy="227520"/>
          </a:xfrm>
          <a:prstGeom prst="rect">
            <a:avLst/>
          </a:prstGeom>
          <a:ln>
            <a:noFill/>
          </a:ln>
        </p:spPr>
      </p:pic>
      <p:sp>
        <p:nvSpPr>
          <p:cNvPr id="31" name="Line 20">
            <a:extLst>
              <a:ext uri="{FF2B5EF4-FFF2-40B4-BE49-F238E27FC236}">
                <a16:creationId xmlns:a16="http://schemas.microsoft.com/office/drawing/2014/main" id="{FFCAAC15-C0EF-4E26-5E38-FA9ED65DC281}"/>
              </a:ext>
            </a:extLst>
          </p:cNvPr>
          <p:cNvSpPr/>
          <p:nvPr/>
        </p:nvSpPr>
        <p:spPr>
          <a:xfrm flipV="1">
            <a:off x="2871669" y="1416755"/>
            <a:ext cx="3106440" cy="486720"/>
          </a:xfrm>
          <a:prstGeom prst="line">
            <a:avLst/>
          </a:prstGeom>
          <a:ln>
            <a:solidFill>
              <a:srgbClr val="BA0033"/>
            </a:solidFill>
            <a:round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/>
        </p:style>
      </p:sp>
      <p:sp>
        <p:nvSpPr>
          <p:cNvPr id="32" name="Line 21">
            <a:extLst>
              <a:ext uri="{FF2B5EF4-FFF2-40B4-BE49-F238E27FC236}">
                <a16:creationId xmlns:a16="http://schemas.microsoft.com/office/drawing/2014/main" id="{5FBB000D-F5B7-61B8-71C2-E8AB3CC79FE5}"/>
              </a:ext>
            </a:extLst>
          </p:cNvPr>
          <p:cNvSpPr/>
          <p:nvPr/>
        </p:nvSpPr>
        <p:spPr>
          <a:xfrm>
            <a:off x="2871669" y="1903475"/>
            <a:ext cx="3106440" cy="529200"/>
          </a:xfrm>
          <a:prstGeom prst="line">
            <a:avLst/>
          </a:prstGeom>
          <a:ln>
            <a:solidFill>
              <a:srgbClr val="BA0033"/>
            </a:solidFill>
            <a:round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/>
        </p:style>
      </p:sp>
      <p:sp>
        <p:nvSpPr>
          <p:cNvPr id="33" name="Line 22">
            <a:extLst>
              <a:ext uri="{FF2B5EF4-FFF2-40B4-BE49-F238E27FC236}">
                <a16:creationId xmlns:a16="http://schemas.microsoft.com/office/drawing/2014/main" id="{C35C2E23-0CE7-5259-66B0-80482C1EB36D}"/>
              </a:ext>
            </a:extLst>
          </p:cNvPr>
          <p:cNvSpPr/>
          <p:nvPr/>
        </p:nvSpPr>
        <p:spPr>
          <a:xfrm>
            <a:off x="2871669" y="1903475"/>
            <a:ext cx="3106440" cy="2043000"/>
          </a:xfrm>
          <a:prstGeom prst="line">
            <a:avLst/>
          </a:prstGeom>
          <a:ln>
            <a:solidFill>
              <a:srgbClr val="BA0033"/>
            </a:solidFill>
            <a:round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/>
        </p:style>
      </p:sp>
      <p:sp>
        <p:nvSpPr>
          <p:cNvPr id="34" name="Line 23">
            <a:extLst>
              <a:ext uri="{FF2B5EF4-FFF2-40B4-BE49-F238E27FC236}">
                <a16:creationId xmlns:a16="http://schemas.microsoft.com/office/drawing/2014/main" id="{47F8DBA7-2DE7-4562-DB6A-DFCC6FF8952E}"/>
              </a:ext>
            </a:extLst>
          </p:cNvPr>
          <p:cNvSpPr/>
          <p:nvPr/>
        </p:nvSpPr>
        <p:spPr>
          <a:xfrm flipV="1">
            <a:off x="2871669" y="1416755"/>
            <a:ext cx="3106440" cy="1413000"/>
          </a:xfrm>
          <a:prstGeom prst="line">
            <a:avLst/>
          </a:prstGeom>
          <a:ln>
            <a:solidFill>
              <a:srgbClr val="BA0033"/>
            </a:solidFill>
            <a:round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/>
        </p:style>
      </p:sp>
      <p:sp>
        <p:nvSpPr>
          <p:cNvPr id="35" name="Line 24">
            <a:extLst>
              <a:ext uri="{FF2B5EF4-FFF2-40B4-BE49-F238E27FC236}">
                <a16:creationId xmlns:a16="http://schemas.microsoft.com/office/drawing/2014/main" id="{547450DD-135D-67AC-CAE4-EECF402FA64F}"/>
              </a:ext>
            </a:extLst>
          </p:cNvPr>
          <p:cNvSpPr/>
          <p:nvPr/>
        </p:nvSpPr>
        <p:spPr>
          <a:xfrm flipV="1">
            <a:off x="2871669" y="2432675"/>
            <a:ext cx="3106440" cy="397080"/>
          </a:xfrm>
          <a:prstGeom prst="line">
            <a:avLst/>
          </a:prstGeom>
          <a:ln w="38160">
            <a:solidFill>
              <a:srgbClr val="BA0033"/>
            </a:solidFill>
            <a:round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/>
        </p:style>
      </p:sp>
      <p:sp>
        <p:nvSpPr>
          <p:cNvPr id="36" name="Line 25">
            <a:extLst>
              <a:ext uri="{FF2B5EF4-FFF2-40B4-BE49-F238E27FC236}">
                <a16:creationId xmlns:a16="http://schemas.microsoft.com/office/drawing/2014/main" id="{F19E8F26-9C8B-A734-69EB-1FBAB788717C}"/>
              </a:ext>
            </a:extLst>
          </p:cNvPr>
          <p:cNvSpPr/>
          <p:nvPr/>
        </p:nvSpPr>
        <p:spPr>
          <a:xfrm>
            <a:off x="2871669" y="2829755"/>
            <a:ext cx="3106440" cy="1116720"/>
          </a:xfrm>
          <a:prstGeom prst="line">
            <a:avLst/>
          </a:prstGeom>
          <a:ln>
            <a:solidFill>
              <a:srgbClr val="BA0033"/>
            </a:solidFill>
            <a:round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/>
        </p:style>
      </p:sp>
      <p:sp>
        <p:nvSpPr>
          <p:cNvPr id="37" name="Line 26">
            <a:extLst>
              <a:ext uri="{FF2B5EF4-FFF2-40B4-BE49-F238E27FC236}">
                <a16:creationId xmlns:a16="http://schemas.microsoft.com/office/drawing/2014/main" id="{3241FF6D-AE94-940D-CBE5-204F2B8E6FD0}"/>
              </a:ext>
            </a:extLst>
          </p:cNvPr>
          <p:cNvSpPr/>
          <p:nvPr/>
        </p:nvSpPr>
        <p:spPr>
          <a:xfrm>
            <a:off x="2871669" y="3889235"/>
            <a:ext cx="3106440" cy="57240"/>
          </a:xfrm>
          <a:prstGeom prst="line">
            <a:avLst/>
          </a:prstGeom>
          <a:ln>
            <a:solidFill>
              <a:srgbClr val="BA0033"/>
            </a:solidFill>
            <a:round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/>
        </p:style>
      </p:sp>
      <p:sp>
        <p:nvSpPr>
          <p:cNvPr id="38" name="Line 27">
            <a:extLst>
              <a:ext uri="{FF2B5EF4-FFF2-40B4-BE49-F238E27FC236}">
                <a16:creationId xmlns:a16="http://schemas.microsoft.com/office/drawing/2014/main" id="{07E8ECE7-1731-6499-EC98-05176325191F}"/>
              </a:ext>
            </a:extLst>
          </p:cNvPr>
          <p:cNvSpPr/>
          <p:nvPr/>
        </p:nvSpPr>
        <p:spPr>
          <a:xfrm flipV="1">
            <a:off x="2871669" y="2432675"/>
            <a:ext cx="3106440" cy="1456560"/>
          </a:xfrm>
          <a:prstGeom prst="line">
            <a:avLst/>
          </a:prstGeom>
          <a:ln>
            <a:solidFill>
              <a:srgbClr val="BA0033"/>
            </a:solidFill>
            <a:round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/>
        </p:style>
      </p:sp>
      <p:sp>
        <p:nvSpPr>
          <p:cNvPr id="39" name="Line 28">
            <a:extLst>
              <a:ext uri="{FF2B5EF4-FFF2-40B4-BE49-F238E27FC236}">
                <a16:creationId xmlns:a16="http://schemas.microsoft.com/office/drawing/2014/main" id="{572E2EF2-1078-6597-AC9D-21CDCC1DC9C0}"/>
              </a:ext>
            </a:extLst>
          </p:cNvPr>
          <p:cNvSpPr/>
          <p:nvPr/>
        </p:nvSpPr>
        <p:spPr>
          <a:xfrm flipV="1">
            <a:off x="2871669" y="1416755"/>
            <a:ext cx="3106440" cy="2472480"/>
          </a:xfrm>
          <a:prstGeom prst="line">
            <a:avLst/>
          </a:prstGeom>
          <a:ln>
            <a:solidFill>
              <a:srgbClr val="BA0033"/>
            </a:solidFill>
            <a:round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/>
        </p:style>
      </p:sp>
      <p:sp>
        <p:nvSpPr>
          <p:cNvPr id="40" name="Line 29">
            <a:extLst>
              <a:ext uri="{FF2B5EF4-FFF2-40B4-BE49-F238E27FC236}">
                <a16:creationId xmlns:a16="http://schemas.microsoft.com/office/drawing/2014/main" id="{A8D665CF-F0FA-15A1-3CD9-B1554E1036AA}"/>
              </a:ext>
            </a:extLst>
          </p:cNvPr>
          <p:cNvSpPr/>
          <p:nvPr/>
        </p:nvSpPr>
        <p:spPr>
          <a:xfrm>
            <a:off x="6269709" y="1416755"/>
            <a:ext cx="3057480" cy="543960"/>
          </a:xfrm>
          <a:prstGeom prst="line">
            <a:avLst/>
          </a:prstGeom>
          <a:ln>
            <a:solidFill>
              <a:srgbClr val="BA0033"/>
            </a:solidFill>
            <a:round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/>
        </p:style>
      </p:sp>
      <p:sp>
        <p:nvSpPr>
          <p:cNvPr id="41" name="Line 30">
            <a:extLst>
              <a:ext uri="{FF2B5EF4-FFF2-40B4-BE49-F238E27FC236}">
                <a16:creationId xmlns:a16="http://schemas.microsoft.com/office/drawing/2014/main" id="{3B4CF52C-351C-DAE0-D090-75C20C3B4C67}"/>
              </a:ext>
            </a:extLst>
          </p:cNvPr>
          <p:cNvSpPr/>
          <p:nvPr/>
        </p:nvSpPr>
        <p:spPr>
          <a:xfrm flipV="1">
            <a:off x="6269709" y="1960715"/>
            <a:ext cx="3057480" cy="471960"/>
          </a:xfrm>
          <a:prstGeom prst="line">
            <a:avLst/>
          </a:prstGeom>
          <a:ln>
            <a:solidFill>
              <a:srgbClr val="BA0033"/>
            </a:solidFill>
            <a:round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/>
        </p:style>
      </p:sp>
      <p:sp>
        <p:nvSpPr>
          <p:cNvPr id="42" name="Line 31">
            <a:extLst>
              <a:ext uri="{FF2B5EF4-FFF2-40B4-BE49-F238E27FC236}">
                <a16:creationId xmlns:a16="http://schemas.microsoft.com/office/drawing/2014/main" id="{C20952EB-0851-1BB8-3325-7E6C88C922B1}"/>
              </a:ext>
            </a:extLst>
          </p:cNvPr>
          <p:cNvSpPr/>
          <p:nvPr/>
        </p:nvSpPr>
        <p:spPr>
          <a:xfrm>
            <a:off x="6269709" y="2432675"/>
            <a:ext cx="3057480" cy="666720"/>
          </a:xfrm>
          <a:prstGeom prst="line">
            <a:avLst/>
          </a:prstGeom>
          <a:ln w="38160">
            <a:solidFill>
              <a:srgbClr val="BA0033"/>
            </a:solidFill>
            <a:round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/>
        </p:style>
      </p:sp>
      <p:sp>
        <p:nvSpPr>
          <p:cNvPr id="43" name="Line 32">
            <a:extLst>
              <a:ext uri="{FF2B5EF4-FFF2-40B4-BE49-F238E27FC236}">
                <a16:creationId xmlns:a16="http://schemas.microsoft.com/office/drawing/2014/main" id="{42048099-CC39-4406-B28A-6356162A23D8}"/>
              </a:ext>
            </a:extLst>
          </p:cNvPr>
          <p:cNvSpPr/>
          <p:nvPr/>
        </p:nvSpPr>
        <p:spPr>
          <a:xfrm>
            <a:off x="6269709" y="2432675"/>
            <a:ext cx="3057480" cy="1917000"/>
          </a:xfrm>
          <a:prstGeom prst="line">
            <a:avLst/>
          </a:prstGeom>
          <a:ln>
            <a:solidFill>
              <a:srgbClr val="BA0033"/>
            </a:solidFill>
            <a:round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/>
        </p:style>
      </p:sp>
      <p:sp>
        <p:nvSpPr>
          <p:cNvPr id="44" name="Line 33">
            <a:extLst>
              <a:ext uri="{FF2B5EF4-FFF2-40B4-BE49-F238E27FC236}">
                <a16:creationId xmlns:a16="http://schemas.microsoft.com/office/drawing/2014/main" id="{2F3B3ECE-FA97-9743-68BD-2C76A667FDF6}"/>
              </a:ext>
            </a:extLst>
          </p:cNvPr>
          <p:cNvSpPr/>
          <p:nvPr/>
        </p:nvSpPr>
        <p:spPr>
          <a:xfrm>
            <a:off x="6269709" y="3946475"/>
            <a:ext cx="3057480" cy="403200"/>
          </a:xfrm>
          <a:prstGeom prst="line">
            <a:avLst/>
          </a:prstGeom>
          <a:ln>
            <a:solidFill>
              <a:srgbClr val="BA0033"/>
            </a:solidFill>
            <a:round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/>
        </p:style>
      </p:sp>
      <p:sp>
        <p:nvSpPr>
          <p:cNvPr id="45" name="Line 34">
            <a:extLst>
              <a:ext uri="{FF2B5EF4-FFF2-40B4-BE49-F238E27FC236}">
                <a16:creationId xmlns:a16="http://schemas.microsoft.com/office/drawing/2014/main" id="{1FB51B5D-C527-01B1-0B70-D66A9CE18DF4}"/>
              </a:ext>
            </a:extLst>
          </p:cNvPr>
          <p:cNvSpPr/>
          <p:nvPr/>
        </p:nvSpPr>
        <p:spPr>
          <a:xfrm flipV="1">
            <a:off x="6269709" y="3099395"/>
            <a:ext cx="3057480" cy="847080"/>
          </a:xfrm>
          <a:prstGeom prst="line">
            <a:avLst/>
          </a:prstGeom>
          <a:ln>
            <a:solidFill>
              <a:srgbClr val="BA0033"/>
            </a:solidFill>
            <a:round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/>
        </p:style>
      </p:sp>
      <p:sp>
        <p:nvSpPr>
          <p:cNvPr id="46" name="Line 35">
            <a:extLst>
              <a:ext uri="{FF2B5EF4-FFF2-40B4-BE49-F238E27FC236}">
                <a16:creationId xmlns:a16="http://schemas.microsoft.com/office/drawing/2014/main" id="{11C70D7F-0CEC-B734-AE05-AB6C15A43263}"/>
              </a:ext>
            </a:extLst>
          </p:cNvPr>
          <p:cNvSpPr/>
          <p:nvPr/>
        </p:nvSpPr>
        <p:spPr>
          <a:xfrm flipV="1">
            <a:off x="6269709" y="1960715"/>
            <a:ext cx="3057480" cy="1985760"/>
          </a:xfrm>
          <a:prstGeom prst="line">
            <a:avLst/>
          </a:prstGeom>
          <a:ln>
            <a:solidFill>
              <a:srgbClr val="BA0033"/>
            </a:solidFill>
            <a:round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/>
        </p:style>
      </p:sp>
      <p:sp>
        <p:nvSpPr>
          <p:cNvPr id="47" name="Line 36">
            <a:extLst>
              <a:ext uri="{FF2B5EF4-FFF2-40B4-BE49-F238E27FC236}">
                <a16:creationId xmlns:a16="http://schemas.microsoft.com/office/drawing/2014/main" id="{E93AAE5F-99E6-1202-CDE0-3648B95F7E3C}"/>
              </a:ext>
            </a:extLst>
          </p:cNvPr>
          <p:cNvSpPr/>
          <p:nvPr/>
        </p:nvSpPr>
        <p:spPr>
          <a:xfrm>
            <a:off x="6269709" y="1416755"/>
            <a:ext cx="3057480" cy="1682640"/>
          </a:xfrm>
          <a:prstGeom prst="line">
            <a:avLst/>
          </a:prstGeom>
          <a:ln>
            <a:solidFill>
              <a:srgbClr val="BA0033"/>
            </a:solidFill>
            <a:round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/>
        </p:style>
      </p:sp>
      <p:sp>
        <p:nvSpPr>
          <p:cNvPr id="48" name="Line 37">
            <a:extLst>
              <a:ext uri="{FF2B5EF4-FFF2-40B4-BE49-F238E27FC236}">
                <a16:creationId xmlns:a16="http://schemas.microsoft.com/office/drawing/2014/main" id="{401163C9-5B92-14BD-2076-9706636973EC}"/>
              </a:ext>
            </a:extLst>
          </p:cNvPr>
          <p:cNvSpPr/>
          <p:nvPr/>
        </p:nvSpPr>
        <p:spPr>
          <a:xfrm>
            <a:off x="6269709" y="1416755"/>
            <a:ext cx="3057480" cy="2932920"/>
          </a:xfrm>
          <a:prstGeom prst="line">
            <a:avLst/>
          </a:prstGeom>
          <a:ln>
            <a:solidFill>
              <a:srgbClr val="BA0033"/>
            </a:solidFill>
            <a:round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/>
        </p:style>
      </p:sp>
      <p:sp>
        <p:nvSpPr>
          <p:cNvPr id="49" name="Line 38">
            <a:extLst>
              <a:ext uri="{FF2B5EF4-FFF2-40B4-BE49-F238E27FC236}">
                <a16:creationId xmlns:a16="http://schemas.microsoft.com/office/drawing/2014/main" id="{2F3CB015-1C94-33F2-2950-D0D47B3B9BEA}"/>
              </a:ext>
            </a:extLst>
          </p:cNvPr>
          <p:cNvSpPr/>
          <p:nvPr/>
        </p:nvSpPr>
        <p:spPr>
          <a:xfrm flipV="1">
            <a:off x="6269709" y="1960715"/>
            <a:ext cx="3057480" cy="2716200"/>
          </a:xfrm>
          <a:prstGeom prst="line">
            <a:avLst/>
          </a:prstGeom>
          <a:ln>
            <a:solidFill>
              <a:srgbClr val="BA0033"/>
            </a:solidFill>
            <a:round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/>
        </p:style>
      </p:sp>
      <p:sp>
        <p:nvSpPr>
          <p:cNvPr id="50" name="Line 39">
            <a:extLst>
              <a:ext uri="{FF2B5EF4-FFF2-40B4-BE49-F238E27FC236}">
                <a16:creationId xmlns:a16="http://schemas.microsoft.com/office/drawing/2014/main" id="{EB5C0B52-698A-E89D-DF2D-C76A7325F32C}"/>
              </a:ext>
            </a:extLst>
          </p:cNvPr>
          <p:cNvSpPr/>
          <p:nvPr/>
        </p:nvSpPr>
        <p:spPr>
          <a:xfrm flipV="1">
            <a:off x="6269709" y="3099395"/>
            <a:ext cx="3057480" cy="1577520"/>
          </a:xfrm>
          <a:prstGeom prst="line">
            <a:avLst/>
          </a:prstGeom>
          <a:ln>
            <a:solidFill>
              <a:srgbClr val="BA0033"/>
            </a:solidFill>
            <a:round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/>
        </p:style>
      </p:sp>
      <p:sp>
        <p:nvSpPr>
          <p:cNvPr id="51" name="Line 40">
            <a:extLst>
              <a:ext uri="{FF2B5EF4-FFF2-40B4-BE49-F238E27FC236}">
                <a16:creationId xmlns:a16="http://schemas.microsoft.com/office/drawing/2014/main" id="{4B07FFDF-4B72-4D3B-A27C-534421C96143}"/>
              </a:ext>
            </a:extLst>
          </p:cNvPr>
          <p:cNvSpPr/>
          <p:nvPr/>
        </p:nvSpPr>
        <p:spPr>
          <a:xfrm flipV="1">
            <a:off x="6269709" y="4349675"/>
            <a:ext cx="3057480" cy="327240"/>
          </a:xfrm>
          <a:prstGeom prst="line">
            <a:avLst/>
          </a:prstGeom>
          <a:ln>
            <a:solidFill>
              <a:srgbClr val="BA0033"/>
            </a:solidFill>
            <a:round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/>
        </p:style>
      </p:sp>
      <p:sp>
        <p:nvSpPr>
          <p:cNvPr id="52" name="Line 41">
            <a:extLst>
              <a:ext uri="{FF2B5EF4-FFF2-40B4-BE49-F238E27FC236}">
                <a16:creationId xmlns:a16="http://schemas.microsoft.com/office/drawing/2014/main" id="{E6E98335-608B-91C6-E654-641483D7D274}"/>
              </a:ext>
            </a:extLst>
          </p:cNvPr>
          <p:cNvSpPr/>
          <p:nvPr/>
        </p:nvSpPr>
        <p:spPr>
          <a:xfrm flipV="1">
            <a:off x="2871669" y="1416755"/>
            <a:ext cx="3106440" cy="3202920"/>
          </a:xfrm>
          <a:prstGeom prst="line">
            <a:avLst/>
          </a:prstGeom>
          <a:ln>
            <a:solidFill>
              <a:srgbClr val="BA0033"/>
            </a:solidFill>
            <a:round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/>
        </p:style>
      </p:sp>
      <p:sp>
        <p:nvSpPr>
          <p:cNvPr id="53" name="Line 42">
            <a:extLst>
              <a:ext uri="{FF2B5EF4-FFF2-40B4-BE49-F238E27FC236}">
                <a16:creationId xmlns:a16="http://schemas.microsoft.com/office/drawing/2014/main" id="{74544E52-5336-CB3D-D8F5-34841DE24DE9}"/>
              </a:ext>
            </a:extLst>
          </p:cNvPr>
          <p:cNvSpPr/>
          <p:nvPr/>
        </p:nvSpPr>
        <p:spPr>
          <a:xfrm flipV="1">
            <a:off x="2871669" y="2432675"/>
            <a:ext cx="3106440" cy="2187000"/>
          </a:xfrm>
          <a:prstGeom prst="line">
            <a:avLst/>
          </a:prstGeom>
          <a:ln>
            <a:solidFill>
              <a:srgbClr val="BA0033"/>
            </a:solidFill>
            <a:round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/>
        </p:style>
      </p:sp>
      <p:sp>
        <p:nvSpPr>
          <p:cNvPr id="54" name="Line 43">
            <a:extLst>
              <a:ext uri="{FF2B5EF4-FFF2-40B4-BE49-F238E27FC236}">
                <a16:creationId xmlns:a16="http://schemas.microsoft.com/office/drawing/2014/main" id="{512736CB-D6F2-69A3-6FC3-919CC1C83AC9}"/>
              </a:ext>
            </a:extLst>
          </p:cNvPr>
          <p:cNvSpPr/>
          <p:nvPr/>
        </p:nvSpPr>
        <p:spPr>
          <a:xfrm flipV="1">
            <a:off x="2871669" y="3946475"/>
            <a:ext cx="3106440" cy="673200"/>
          </a:xfrm>
          <a:prstGeom prst="line">
            <a:avLst/>
          </a:prstGeom>
          <a:ln>
            <a:solidFill>
              <a:srgbClr val="BA0033"/>
            </a:solidFill>
            <a:round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/>
        </p:style>
      </p:sp>
      <p:pic>
        <p:nvPicPr>
          <p:cNvPr id="55" name="Picture 113">
            <a:extLst>
              <a:ext uri="{FF2B5EF4-FFF2-40B4-BE49-F238E27FC236}">
                <a16:creationId xmlns:a16="http://schemas.microsoft.com/office/drawing/2014/main" id="{735343B6-7BB8-C966-504F-C9A692335BE9}"/>
              </a:ext>
            </a:extLst>
          </p:cNvPr>
          <p:cNvPicPr/>
          <p:nvPr/>
        </p:nvPicPr>
        <p:blipFill>
          <a:blip r:embed="rId8"/>
          <a:stretch/>
        </p:blipFill>
        <p:spPr>
          <a:xfrm>
            <a:off x="5784789" y="4377035"/>
            <a:ext cx="187560" cy="141840"/>
          </a:xfrm>
          <a:prstGeom prst="rect">
            <a:avLst/>
          </a:prstGeom>
          <a:ln>
            <a:noFill/>
          </a:ln>
        </p:spPr>
      </p:pic>
      <p:pic>
        <p:nvPicPr>
          <p:cNvPr id="56" name="Picture 115">
            <a:extLst>
              <a:ext uri="{FF2B5EF4-FFF2-40B4-BE49-F238E27FC236}">
                <a16:creationId xmlns:a16="http://schemas.microsoft.com/office/drawing/2014/main" id="{99F54685-B30E-CF8B-B689-FC3153D9607D}"/>
              </a:ext>
            </a:extLst>
          </p:cNvPr>
          <p:cNvPicPr/>
          <p:nvPr/>
        </p:nvPicPr>
        <p:blipFill>
          <a:blip r:embed="rId9"/>
          <a:stretch/>
        </p:blipFill>
        <p:spPr>
          <a:xfrm>
            <a:off x="5784789" y="2137835"/>
            <a:ext cx="176040" cy="173160"/>
          </a:xfrm>
          <a:prstGeom prst="rect">
            <a:avLst/>
          </a:prstGeom>
          <a:ln>
            <a:noFill/>
          </a:ln>
        </p:spPr>
      </p:pic>
      <p:pic>
        <p:nvPicPr>
          <p:cNvPr id="57" name="Picture 117">
            <a:extLst>
              <a:ext uri="{FF2B5EF4-FFF2-40B4-BE49-F238E27FC236}">
                <a16:creationId xmlns:a16="http://schemas.microsoft.com/office/drawing/2014/main" id="{E7F32FE0-EF16-CB52-4FE3-47A7C981C693}"/>
              </a:ext>
            </a:extLst>
          </p:cNvPr>
          <p:cNvPicPr/>
          <p:nvPr/>
        </p:nvPicPr>
        <p:blipFill>
          <a:blip r:embed="rId10"/>
          <a:stretch/>
        </p:blipFill>
        <p:spPr>
          <a:xfrm>
            <a:off x="5756709" y="1075835"/>
            <a:ext cx="293400" cy="138960"/>
          </a:xfrm>
          <a:prstGeom prst="rect">
            <a:avLst/>
          </a:prstGeom>
          <a:ln>
            <a:noFill/>
          </a:ln>
        </p:spPr>
      </p:pic>
      <p:pic>
        <p:nvPicPr>
          <p:cNvPr id="58" name="Picture 119">
            <a:extLst>
              <a:ext uri="{FF2B5EF4-FFF2-40B4-BE49-F238E27FC236}">
                <a16:creationId xmlns:a16="http://schemas.microsoft.com/office/drawing/2014/main" id="{D275283C-0E09-9AC7-5FF9-ED19B30E85AC}"/>
              </a:ext>
            </a:extLst>
          </p:cNvPr>
          <p:cNvPicPr/>
          <p:nvPr/>
        </p:nvPicPr>
        <p:blipFill>
          <a:blip r:embed="rId11"/>
          <a:stretch/>
        </p:blipFill>
        <p:spPr>
          <a:xfrm>
            <a:off x="5784789" y="3626435"/>
            <a:ext cx="181800" cy="138960"/>
          </a:xfrm>
          <a:prstGeom prst="rect">
            <a:avLst/>
          </a:prstGeom>
          <a:ln>
            <a:noFill/>
          </a:ln>
        </p:spPr>
      </p:pic>
      <p:pic>
        <p:nvPicPr>
          <p:cNvPr id="59" name="Picture 121">
            <a:extLst>
              <a:ext uri="{FF2B5EF4-FFF2-40B4-BE49-F238E27FC236}">
                <a16:creationId xmlns:a16="http://schemas.microsoft.com/office/drawing/2014/main" id="{7C99B8C4-5ACF-FB58-DE43-59FC60EA8C62}"/>
              </a:ext>
            </a:extLst>
          </p:cNvPr>
          <p:cNvPicPr/>
          <p:nvPr/>
        </p:nvPicPr>
        <p:blipFill>
          <a:blip r:embed="rId12"/>
          <a:stretch/>
        </p:blipFill>
        <p:spPr>
          <a:xfrm>
            <a:off x="9712749" y="4242755"/>
            <a:ext cx="190440" cy="213120"/>
          </a:xfrm>
          <a:prstGeom prst="rect">
            <a:avLst/>
          </a:prstGeom>
          <a:ln>
            <a:noFill/>
          </a:ln>
        </p:spPr>
      </p:pic>
      <p:pic>
        <p:nvPicPr>
          <p:cNvPr id="60" name="Picture 123">
            <a:extLst>
              <a:ext uri="{FF2B5EF4-FFF2-40B4-BE49-F238E27FC236}">
                <a16:creationId xmlns:a16="http://schemas.microsoft.com/office/drawing/2014/main" id="{372CAD3A-EE5C-3287-77DD-46401BC6FDF1}"/>
              </a:ext>
            </a:extLst>
          </p:cNvPr>
          <p:cNvPicPr/>
          <p:nvPr/>
        </p:nvPicPr>
        <p:blipFill>
          <a:blip r:embed="rId13"/>
          <a:stretch/>
        </p:blipFill>
        <p:spPr>
          <a:xfrm>
            <a:off x="9698349" y="3009755"/>
            <a:ext cx="204840" cy="213120"/>
          </a:xfrm>
          <a:prstGeom prst="rect">
            <a:avLst/>
          </a:prstGeom>
          <a:ln>
            <a:noFill/>
          </a:ln>
        </p:spPr>
      </p:pic>
      <p:pic>
        <p:nvPicPr>
          <p:cNvPr id="61" name="Picture 125">
            <a:extLst>
              <a:ext uri="{FF2B5EF4-FFF2-40B4-BE49-F238E27FC236}">
                <a16:creationId xmlns:a16="http://schemas.microsoft.com/office/drawing/2014/main" id="{8104FD1C-E23B-1E60-1769-E34FE11C87DF}"/>
              </a:ext>
            </a:extLst>
          </p:cNvPr>
          <p:cNvPicPr/>
          <p:nvPr/>
        </p:nvPicPr>
        <p:blipFill>
          <a:blip r:embed="rId14"/>
          <a:stretch/>
        </p:blipFill>
        <p:spPr>
          <a:xfrm>
            <a:off x="9695829" y="1835075"/>
            <a:ext cx="273240" cy="213120"/>
          </a:xfrm>
          <a:prstGeom prst="rect">
            <a:avLst/>
          </a:prstGeom>
          <a:ln>
            <a:noFill/>
          </a:ln>
        </p:spPr>
      </p:pic>
      <p:pic>
        <p:nvPicPr>
          <p:cNvPr id="62" name="Picture 127">
            <a:extLst>
              <a:ext uri="{FF2B5EF4-FFF2-40B4-BE49-F238E27FC236}">
                <a16:creationId xmlns:a16="http://schemas.microsoft.com/office/drawing/2014/main" id="{232CB0EE-92D5-286C-3AB9-F8E7E507278A}"/>
              </a:ext>
            </a:extLst>
          </p:cNvPr>
          <p:cNvPicPr/>
          <p:nvPr/>
        </p:nvPicPr>
        <p:blipFill>
          <a:blip r:embed="rId15"/>
          <a:stretch/>
        </p:blipFill>
        <p:spPr>
          <a:xfrm>
            <a:off x="4201149" y="1098155"/>
            <a:ext cx="342000" cy="315000"/>
          </a:xfrm>
          <a:prstGeom prst="rect">
            <a:avLst/>
          </a:prstGeom>
          <a:ln>
            <a:noFill/>
          </a:ln>
        </p:spPr>
      </p:pic>
      <p:pic>
        <p:nvPicPr>
          <p:cNvPr id="63" name="Picture 131">
            <a:extLst>
              <a:ext uri="{FF2B5EF4-FFF2-40B4-BE49-F238E27FC236}">
                <a16:creationId xmlns:a16="http://schemas.microsoft.com/office/drawing/2014/main" id="{710F1BF0-0B12-D1F5-1C76-34809876BD49}"/>
              </a:ext>
            </a:extLst>
          </p:cNvPr>
          <p:cNvPicPr/>
          <p:nvPr/>
        </p:nvPicPr>
        <p:blipFill>
          <a:blip r:embed="rId16"/>
          <a:stretch/>
        </p:blipFill>
        <p:spPr>
          <a:xfrm>
            <a:off x="7766589" y="1098155"/>
            <a:ext cx="342000" cy="315000"/>
          </a:xfrm>
          <a:prstGeom prst="rect">
            <a:avLst/>
          </a:prstGeom>
          <a:ln>
            <a:noFill/>
          </a:ln>
        </p:spPr>
      </p:pic>
      <p:pic>
        <p:nvPicPr>
          <p:cNvPr id="64" name="Picture 143">
            <a:extLst>
              <a:ext uri="{FF2B5EF4-FFF2-40B4-BE49-F238E27FC236}">
                <a16:creationId xmlns:a16="http://schemas.microsoft.com/office/drawing/2014/main" id="{4ED14E3F-37A1-BA1C-DD42-B56D2BAE1A34}"/>
              </a:ext>
            </a:extLst>
          </p:cNvPr>
          <p:cNvPicPr/>
          <p:nvPr/>
        </p:nvPicPr>
        <p:blipFill>
          <a:blip r:embed="rId17"/>
          <a:stretch/>
        </p:blipFill>
        <p:spPr>
          <a:xfrm>
            <a:off x="4059669" y="2245475"/>
            <a:ext cx="364680" cy="344520"/>
          </a:xfrm>
          <a:prstGeom prst="rect">
            <a:avLst/>
          </a:prstGeom>
          <a:ln>
            <a:noFill/>
          </a:ln>
        </p:spPr>
      </p:pic>
      <p:pic>
        <p:nvPicPr>
          <p:cNvPr id="65" name="Picture 159">
            <a:extLst>
              <a:ext uri="{FF2B5EF4-FFF2-40B4-BE49-F238E27FC236}">
                <a16:creationId xmlns:a16="http://schemas.microsoft.com/office/drawing/2014/main" id="{DA50DCF9-BB04-8200-9595-39637E7EFD3C}"/>
              </a:ext>
            </a:extLst>
          </p:cNvPr>
          <p:cNvPicPr/>
          <p:nvPr/>
        </p:nvPicPr>
        <p:blipFill>
          <a:blip r:embed="rId18"/>
          <a:stretch/>
        </p:blipFill>
        <p:spPr>
          <a:xfrm>
            <a:off x="2564229" y="5596715"/>
            <a:ext cx="2570760" cy="244800"/>
          </a:xfrm>
          <a:prstGeom prst="rect">
            <a:avLst/>
          </a:prstGeom>
          <a:ln>
            <a:noFill/>
          </a:ln>
        </p:spPr>
      </p:pic>
      <p:pic>
        <p:nvPicPr>
          <p:cNvPr id="66" name="Picture 209">
            <a:extLst>
              <a:ext uri="{FF2B5EF4-FFF2-40B4-BE49-F238E27FC236}">
                <a16:creationId xmlns:a16="http://schemas.microsoft.com/office/drawing/2014/main" id="{18E58576-D34C-D535-11A3-41452DDB7731}"/>
              </a:ext>
            </a:extLst>
          </p:cNvPr>
          <p:cNvPicPr/>
          <p:nvPr/>
        </p:nvPicPr>
        <p:blipFill>
          <a:blip r:embed="rId19"/>
          <a:stretch/>
        </p:blipFill>
        <p:spPr>
          <a:xfrm>
            <a:off x="7688469" y="2401715"/>
            <a:ext cx="364680" cy="350280"/>
          </a:xfrm>
          <a:prstGeom prst="rect">
            <a:avLst/>
          </a:prstGeom>
          <a:ln>
            <a:noFill/>
          </a:ln>
        </p:spPr>
      </p:pic>
      <p:sp>
        <p:nvSpPr>
          <p:cNvPr id="67" name="CustomShape 44">
            <a:extLst>
              <a:ext uri="{FF2B5EF4-FFF2-40B4-BE49-F238E27FC236}">
                <a16:creationId xmlns:a16="http://schemas.microsoft.com/office/drawing/2014/main" id="{A2CFE0BC-A82D-96F8-CEA6-DCE55A524F9C}"/>
              </a:ext>
            </a:extLst>
          </p:cNvPr>
          <p:cNvSpPr/>
          <p:nvPr/>
        </p:nvSpPr>
        <p:spPr>
          <a:xfrm>
            <a:off x="5373309" y="5005955"/>
            <a:ext cx="1547280" cy="36396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1800" b="1" strike="noStrike" spc="-1">
                <a:solidFill>
                  <a:srgbClr val="AB3348"/>
                </a:solidFill>
                <a:latin typeface="Times New Roman"/>
                <a:ea typeface="DejaVu Sans"/>
              </a:rPr>
              <a:t>Hidden Layer</a:t>
            </a:r>
            <a:endParaRPr lang="en-US" sz="1800" b="0" strike="noStrike" spc="-1">
              <a:latin typeface="Arial"/>
            </a:endParaRPr>
          </a:p>
        </p:txBody>
      </p:sp>
      <p:pic>
        <p:nvPicPr>
          <p:cNvPr id="68" name="Picture 227">
            <a:extLst>
              <a:ext uri="{FF2B5EF4-FFF2-40B4-BE49-F238E27FC236}">
                <a16:creationId xmlns:a16="http://schemas.microsoft.com/office/drawing/2014/main" id="{CEDBB31A-D1A4-2469-C70D-DDABFA3E7F29}"/>
              </a:ext>
            </a:extLst>
          </p:cNvPr>
          <p:cNvPicPr/>
          <p:nvPr/>
        </p:nvPicPr>
        <p:blipFill>
          <a:blip r:embed="rId20"/>
          <a:stretch/>
        </p:blipFill>
        <p:spPr>
          <a:xfrm>
            <a:off x="2697069" y="4814075"/>
            <a:ext cx="2253600" cy="664560"/>
          </a:xfrm>
          <a:prstGeom prst="rect">
            <a:avLst/>
          </a:prstGeom>
          <a:ln>
            <a:noFill/>
          </a:ln>
        </p:spPr>
      </p:pic>
      <p:pic>
        <p:nvPicPr>
          <p:cNvPr id="69" name="Picture 229">
            <a:extLst>
              <a:ext uri="{FF2B5EF4-FFF2-40B4-BE49-F238E27FC236}">
                <a16:creationId xmlns:a16="http://schemas.microsoft.com/office/drawing/2014/main" id="{269528E0-2A2D-2DFB-3CAA-60C066D5B418}"/>
              </a:ext>
            </a:extLst>
          </p:cNvPr>
          <p:cNvPicPr/>
          <p:nvPr/>
        </p:nvPicPr>
        <p:blipFill>
          <a:blip r:embed="rId21"/>
          <a:stretch/>
        </p:blipFill>
        <p:spPr>
          <a:xfrm>
            <a:off x="7450149" y="4755035"/>
            <a:ext cx="2205000" cy="724680"/>
          </a:xfrm>
          <a:prstGeom prst="rect">
            <a:avLst/>
          </a:prstGeom>
          <a:ln>
            <a:noFill/>
          </a:ln>
        </p:spPr>
      </p:pic>
      <p:pic>
        <p:nvPicPr>
          <p:cNvPr id="70" name="Picture 6">
            <a:extLst>
              <a:ext uri="{FF2B5EF4-FFF2-40B4-BE49-F238E27FC236}">
                <a16:creationId xmlns:a16="http://schemas.microsoft.com/office/drawing/2014/main" id="{EBEC682B-554D-302B-5E8F-30528A20C3C8}"/>
              </a:ext>
            </a:extLst>
          </p:cNvPr>
          <p:cNvPicPr/>
          <p:nvPr/>
        </p:nvPicPr>
        <p:blipFill>
          <a:blip r:embed="rId22"/>
          <a:stretch/>
        </p:blipFill>
        <p:spPr>
          <a:xfrm>
            <a:off x="8949909" y="998795"/>
            <a:ext cx="1390680" cy="264600"/>
          </a:xfrm>
          <a:prstGeom prst="rect">
            <a:avLst/>
          </a:prstGeom>
          <a:ln>
            <a:noFill/>
          </a:ln>
        </p:spPr>
      </p:pic>
      <p:sp>
        <p:nvSpPr>
          <p:cNvPr id="71" name="CustomShape 45">
            <a:extLst>
              <a:ext uri="{FF2B5EF4-FFF2-40B4-BE49-F238E27FC236}">
                <a16:creationId xmlns:a16="http://schemas.microsoft.com/office/drawing/2014/main" id="{D88DE955-DEBF-DABE-48BB-889FF7D90FD1}"/>
              </a:ext>
            </a:extLst>
          </p:cNvPr>
          <p:cNvSpPr/>
          <p:nvPr/>
        </p:nvSpPr>
        <p:spPr>
          <a:xfrm>
            <a:off x="8768109" y="869195"/>
            <a:ext cx="1738080" cy="504360"/>
          </a:xfrm>
          <a:prstGeom prst="rect">
            <a:avLst/>
          </a:prstGeom>
          <a:noFill/>
          <a:ln>
            <a:solidFill>
              <a:srgbClr val="AB3348"/>
            </a:solidFill>
            <a:round/>
          </a:ln>
          <a:effectLst>
            <a:outerShdw blurRad="40000" dist="2304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/>
        </p:style>
      </p:sp>
      <p:sp>
        <p:nvSpPr>
          <p:cNvPr id="72" name="CustomShape 46">
            <a:extLst>
              <a:ext uri="{FF2B5EF4-FFF2-40B4-BE49-F238E27FC236}">
                <a16:creationId xmlns:a16="http://schemas.microsoft.com/office/drawing/2014/main" id="{C294FA1B-F20F-9F2B-2BA5-EA5219229795}"/>
              </a:ext>
            </a:extLst>
          </p:cNvPr>
          <p:cNvSpPr/>
          <p:nvPr/>
        </p:nvSpPr>
        <p:spPr>
          <a:xfrm>
            <a:off x="5227869" y="5953115"/>
            <a:ext cx="1809360" cy="57636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>
            <a:spAutoFit/>
          </a:bodyPr>
          <a:lstStyle/>
          <a:p>
            <a:pPr>
              <a:lnSpc>
                <a:spcPct val="100000"/>
              </a:lnSpc>
            </a:pPr>
            <a:r>
              <a:rPr lang="en-US" sz="1600" b="1" strike="noStrike" spc="-1">
                <a:solidFill>
                  <a:srgbClr val="084112"/>
                </a:solidFill>
                <a:latin typeface="Times New Roman"/>
                <a:ea typeface="DejaVu Sans"/>
              </a:rPr>
              <a:t>output unit </a:t>
            </a:r>
            <a:endParaRPr lang="en-US" sz="1600" b="0" strike="noStrike" spc="-1">
              <a:latin typeface="Arial"/>
            </a:endParaRPr>
          </a:p>
          <a:p>
            <a:pPr>
              <a:lnSpc>
                <a:spcPct val="100000"/>
              </a:lnSpc>
            </a:pPr>
            <a:r>
              <a:rPr lang="en-US" sz="1600" b="1" strike="noStrike" spc="-1">
                <a:solidFill>
                  <a:srgbClr val="084112"/>
                </a:solidFill>
                <a:latin typeface="Times New Roman"/>
                <a:ea typeface="DejaVu Sans"/>
              </a:rPr>
              <a:t>activation function</a:t>
            </a:r>
            <a:endParaRPr lang="en-US" sz="1600" b="0" strike="noStrike" spc="-1">
              <a:latin typeface="Arial"/>
            </a:endParaRPr>
          </a:p>
        </p:txBody>
      </p:sp>
      <p:sp>
        <p:nvSpPr>
          <p:cNvPr id="73" name="CustomShape 47">
            <a:extLst>
              <a:ext uri="{FF2B5EF4-FFF2-40B4-BE49-F238E27FC236}">
                <a16:creationId xmlns:a16="http://schemas.microsoft.com/office/drawing/2014/main" id="{ABA9C721-092F-FFB9-7055-1FB2B0CCE749}"/>
              </a:ext>
            </a:extLst>
          </p:cNvPr>
          <p:cNvSpPr/>
          <p:nvPr/>
        </p:nvSpPr>
        <p:spPr>
          <a:xfrm flipV="1">
            <a:off x="7050909" y="5877875"/>
            <a:ext cx="714240" cy="365760"/>
          </a:xfrm>
          <a:prstGeom prst="curvedConnector2">
            <a:avLst/>
          </a:prstGeom>
          <a:noFill/>
          <a:ln>
            <a:solidFill>
              <a:srgbClr val="084112"/>
            </a:solidFill>
            <a:prstDash val="sysDash"/>
            <a:round/>
            <a:tailEnd type="triangle" w="med" len="med"/>
          </a:ln>
          <a:effectLst>
            <a:outerShdw blurRad="40000" dist="20160" dir="5400000" rotWithShape="0">
              <a:srgbClr val="000000">
                <a:alpha val="3800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/>
        </p:style>
      </p:sp>
      <p:pic>
        <p:nvPicPr>
          <p:cNvPr id="74" name="Picture 75">
            <a:extLst>
              <a:ext uri="{FF2B5EF4-FFF2-40B4-BE49-F238E27FC236}">
                <a16:creationId xmlns:a16="http://schemas.microsoft.com/office/drawing/2014/main" id="{232E7816-4A01-361F-9D53-1F5C27751AF2}"/>
              </a:ext>
            </a:extLst>
          </p:cNvPr>
          <p:cNvPicPr/>
          <p:nvPr/>
        </p:nvPicPr>
        <p:blipFill>
          <a:blip r:embed="rId23"/>
          <a:stretch/>
        </p:blipFill>
        <p:spPr>
          <a:xfrm>
            <a:off x="7194189" y="5601035"/>
            <a:ext cx="2604960" cy="236160"/>
          </a:xfrm>
          <a:prstGeom prst="rect">
            <a:avLst/>
          </a:prstGeom>
          <a:ln>
            <a:noFill/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284255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7" grpId="0"/>
      <p:bldP spid="72" grpId="0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E6EF2DD4-1428-4F29-BED0-012580DEB727}"/>
              </a:ext>
            </a:extLst>
          </p:cNvPr>
          <p:cNvGrpSpPr/>
          <p:nvPr/>
        </p:nvGrpSpPr>
        <p:grpSpPr>
          <a:xfrm>
            <a:off x="1" y="6496048"/>
            <a:ext cx="12192000" cy="381103"/>
            <a:chOff x="-1" y="6496048"/>
            <a:chExt cx="12192001" cy="361952"/>
          </a:xfrm>
        </p:grpSpPr>
        <p:sp>
          <p:nvSpPr>
            <p:cNvPr id="17" name="Dikdörtgen 10">
              <a:extLst>
                <a:ext uri="{FF2B5EF4-FFF2-40B4-BE49-F238E27FC236}">
                  <a16:creationId xmlns:a16="http://schemas.microsoft.com/office/drawing/2014/main" id="{C14596DF-271A-400A-B0AE-693FCDF2F217}"/>
                </a:ext>
              </a:extLst>
            </p:cNvPr>
            <p:cNvSpPr/>
            <p:nvPr/>
          </p:nvSpPr>
          <p:spPr>
            <a:xfrm>
              <a:off x="10115547" y="6496049"/>
              <a:ext cx="2076453" cy="361951"/>
            </a:xfrm>
            <a:prstGeom prst="rect">
              <a:avLst/>
            </a:prstGeom>
            <a:solidFill>
              <a:srgbClr val="2198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dirty="0"/>
                <a:t>   Özgür Martin</a:t>
              </a:r>
            </a:p>
          </p:txBody>
        </p:sp>
        <p:sp>
          <p:nvSpPr>
            <p:cNvPr id="18" name="Dikdörtgen 10">
              <a:extLst>
                <a:ext uri="{FF2B5EF4-FFF2-40B4-BE49-F238E27FC236}">
                  <a16:creationId xmlns:a16="http://schemas.microsoft.com/office/drawing/2014/main" id="{84A5B1F6-64B9-4792-8088-33FD44F5342F}"/>
                </a:ext>
              </a:extLst>
            </p:cNvPr>
            <p:cNvSpPr/>
            <p:nvPr/>
          </p:nvSpPr>
          <p:spPr>
            <a:xfrm>
              <a:off x="-1" y="6496048"/>
              <a:ext cx="10151743" cy="361952"/>
            </a:xfrm>
            <a:prstGeom prst="rect">
              <a:avLst/>
            </a:prstGeom>
            <a:solidFill>
              <a:srgbClr val="2198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altLang="ko-KR" dirty="0" err="1">
                  <a:solidFill>
                    <a:schemeClr val="bg1"/>
                  </a:solidFill>
                  <a:cs typeface="Arial" pitchFamily="34" charset="0"/>
                </a:rPr>
                <a:t>Neural</a:t>
              </a:r>
              <a:r>
                <a:rPr lang="tr-TR" altLang="ko-KR" dirty="0">
                  <a:solidFill>
                    <a:schemeClr val="bg1"/>
                  </a:solidFill>
                  <a:cs typeface="Arial" pitchFamily="34" charset="0"/>
                </a:rPr>
                <a:t> Networks</a:t>
              </a: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0C2AB627-F2B5-F934-A34D-22D03CA7B3BC}"/>
              </a:ext>
            </a:extLst>
          </p:cNvPr>
          <p:cNvSpPr txBox="1"/>
          <p:nvPr/>
        </p:nvSpPr>
        <p:spPr>
          <a:xfrm>
            <a:off x="255197" y="244525"/>
            <a:ext cx="49089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ptional Readings</a:t>
            </a:r>
            <a:endParaRPr lang="en-US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CDE8605-5EFE-CD7E-772F-F9D04FFE09F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7348" y="1023505"/>
            <a:ext cx="4731048" cy="3067976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B2908ED0-FD2C-BF22-C489-B5BD93C811B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36672" y="3523004"/>
            <a:ext cx="6000062" cy="1615632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7A041123-FC34-D4FB-4970-180F2DC4CD3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977596" y="4197648"/>
            <a:ext cx="2291324" cy="2513066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0246646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E6EF2DD4-1428-4F29-BED0-012580DEB727}"/>
              </a:ext>
            </a:extLst>
          </p:cNvPr>
          <p:cNvGrpSpPr/>
          <p:nvPr/>
        </p:nvGrpSpPr>
        <p:grpSpPr>
          <a:xfrm>
            <a:off x="1" y="6496048"/>
            <a:ext cx="12192000" cy="381103"/>
            <a:chOff x="-1" y="6496048"/>
            <a:chExt cx="12192001" cy="361952"/>
          </a:xfrm>
        </p:grpSpPr>
        <p:sp>
          <p:nvSpPr>
            <p:cNvPr id="17" name="Dikdörtgen 10">
              <a:extLst>
                <a:ext uri="{FF2B5EF4-FFF2-40B4-BE49-F238E27FC236}">
                  <a16:creationId xmlns:a16="http://schemas.microsoft.com/office/drawing/2014/main" id="{C14596DF-271A-400A-B0AE-693FCDF2F217}"/>
                </a:ext>
              </a:extLst>
            </p:cNvPr>
            <p:cNvSpPr/>
            <p:nvPr/>
          </p:nvSpPr>
          <p:spPr>
            <a:xfrm>
              <a:off x="10115547" y="6496049"/>
              <a:ext cx="2076453" cy="361951"/>
            </a:xfrm>
            <a:prstGeom prst="rect">
              <a:avLst/>
            </a:prstGeom>
            <a:solidFill>
              <a:srgbClr val="2198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dirty="0"/>
                <a:t>   Özgür Martin</a:t>
              </a:r>
            </a:p>
          </p:txBody>
        </p:sp>
        <p:sp>
          <p:nvSpPr>
            <p:cNvPr id="18" name="Dikdörtgen 10">
              <a:extLst>
                <a:ext uri="{FF2B5EF4-FFF2-40B4-BE49-F238E27FC236}">
                  <a16:creationId xmlns:a16="http://schemas.microsoft.com/office/drawing/2014/main" id="{84A5B1F6-64B9-4792-8088-33FD44F5342F}"/>
                </a:ext>
              </a:extLst>
            </p:cNvPr>
            <p:cNvSpPr/>
            <p:nvPr/>
          </p:nvSpPr>
          <p:spPr>
            <a:xfrm>
              <a:off x="-1" y="6496048"/>
              <a:ext cx="10151743" cy="361952"/>
            </a:xfrm>
            <a:prstGeom prst="rect">
              <a:avLst/>
            </a:prstGeom>
            <a:solidFill>
              <a:srgbClr val="2198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altLang="ko-KR" dirty="0" err="1">
                  <a:solidFill>
                    <a:schemeClr val="bg1"/>
                  </a:solidFill>
                  <a:cs typeface="Arial" pitchFamily="34" charset="0"/>
                </a:rPr>
                <a:t>Neural</a:t>
              </a:r>
              <a:r>
                <a:rPr lang="tr-TR" altLang="ko-KR" dirty="0">
                  <a:solidFill>
                    <a:schemeClr val="bg1"/>
                  </a:solidFill>
                  <a:cs typeface="Arial" pitchFamily="34" charset="0"/>
                </a:rPr>
                <a:t> Networks</a:t>
              </a:r>
            </a:p>
          </p:txBody>
        </p:sp>
      </p:grpSp>
      <p:sp>
        <p:nvSpPr>
          <p:cNvPr id="5" name="CustomShape 1">
            <a:extLst>
              <a:ext uri="{FF2B5EF4-FFF2-40B4-BE49-F238E27FC236}">
                <a16:creationId xmlns:a16="http://schemas.microsoft.com/office/drawing/2014/main" id="{3FC566B1-E949-FBE4-B7FB-CBC13B28A236}"/>
              </a:ext>
            </a:extLst>
          </p:cNvPr>
          <p:cNvSpPr/>
          <p:nvPr/>
        </p:nvSpPr>
        <p:spPr>
          <a:xfrm>
            <a:off x="680338" y="486554"/>
            <a:ext cx="8170920" cy="106488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>
            <a:noAutofit/>
          </a:bodyPr>
          <a:lstStyle/>
          <a:p>
            <a:pPr>
              <a:lnSpc>
                <a:spcPts val="3200"/>
              </a:lnSpc>
            </a:pPr>
            <a:r>
              <a:rPr lang="en-US" sz="2800" b="0" strike="noStrike" spc="-1" dirty="0">
                <a:solidFill>
                  <a:srgbClr val="AB3348"/>
                </a:solidFill>
                <a:latin typeface="Times New Roman"/>
                <a:ea typeface="DejaVu Sans"/>
              </a:rPr>
              <a:t>Network Training</a:t>
            </a:r>
            <a:br>
              <a:rPr lang="en-US" dirty="0"/>
            </a:br>
            <a:r>
              <a:rPr lang="en-US" sz="1800" b="0" strike="noStrike" spc="-1" dirty="0">
                <a:solidFill>
                  <a:srgbClr val="AB3348"/>
                </a:solidFill>
                <a:latin typeface="Times New Roman"/>
                <a:ea typeface="DejaVu Sans"/>
              </a:rPr>
              <a:t>Overfitting</a:t>
            </a:r>
            <a:endParaRPr lang="en-US" sz="1800" b="0" strike="noStrike" spc="-1" dirty="0">
              <a:latin typeface="Arial"/>
            </a:endParaRPr>
          </a:p>
        </p:txBody>
      </p:sp>
      <p:pic>
        <p:nvPicPr>
          <p:cNvPr id="6" name="Picture 8">
            <a:extLst>
              <a:ext uri="{FF2B5EF4-FFF2-40B4-BE49-F238E27FC236}">
                <a16:creationId xmlns:a16="http://schemas.microsoft.com/office/drawing/2014/main" id="{29BABC15-D7B5-C208-7372-2B6CC3929A0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/>
        </p:blipFill>
        <p:spPr>
          <a:xfrm>
            <a:off x="6990307" y="5452585"/>
            <a:ext cx="2580323" cy="616744"/>
          </a:xfrm>
          <a:prstGeom prst="rect">
            <a:avLst/>
          </a:prstGeom>
          <a:ln>
            <a:noFill/>
          </a:ln>
        </p:spPr>
      </p:pic>
      <p:pic>
        <p:nvPicPr>
          <p:cNvPr id="7" name="Picture 10">
            <a:extLst>
              <a:ext uri="{FF2B5EF4-FFF2-40B4-BE49-F238E27FC236}">
                <a16:creationId xmlns:a16="http://schemas.microsoft.com/office/drawing/2014/main" id="{33AF28E9-CA79-7615-4F88-C61EA03E434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/>
        </p:blipFill>
        <p:spPr>
          <a:xfrm>
            <a:off x="3292214" y="5452585"/>
            <a:ext cx="2430304" cy="616744"/>
          </a:xfrm>
          <a:prstGeom prst="rect">
            <a:avLst/>
          </a:prstGeom>
          <a:ln>
            <a:noFill/>
          </a:ln>
        </p:spPr>
      </p:pic>
      <p:sp>
        <p:nvSpPr>
          <p:cNvPr id="8" name="CustomShape 2">
            <a:extLst>
              <a:ext uri="{FF2B5EF4-FFF2-40B4-BE49-F238E27FC236}">
                <a16:creationId xmlns:a16="http://schemas.microsoft.com/office/drawing/2014/main" id="{3F367984-C91D-81B7-8569-B68532D0C98C}"/>
              </a:ext>
            </a:extLst>
          </p:cNvPr>
          <p:cNvSpPr/>
          <p:nvPr/>
        </p:nvSpPr>
        <p:spPr>
          <a:xfrm>
            <a:off x="2351052" y="1744597"/>
            <a:ext cx="8170920" cy="4622594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>
            <a:noAutofit/>
          </a:bodyPr>
          <a:lstStyle/>
          <a:p>
            <a:pPr marL="343980" indent="-342900">
              <a:lnSpc>
                <a:spcPct val="150000"/>
              </a:lnSpc>
              <a:buClr>
                <a:srgbClr val="005117"/>
              </a:buClr>
              <a:buSzPct val="130000"/>
              <a:buFont typeface="Wingdings" panose="05000000000000000000" pitchFamily="2" charset="2"/>
              <a:buChar char="§"/>
            </a:pPr>
            <a:r>
              <a:rPr lang="en-US" sz="2400" spc="-1" dirty="0">
                <a:solidFill>
                  <a:srgbClr val="005117"/>
                </a:solidFill>
                <a:latin typeface="Times New Roman"/>
              </a:rPr>
              <a:t>Cross validation</a:t>
            </a:r>
          </a:p>
          <a:p>
            <a:pPr marL="343980" indent="-342900">
              <a:lnSpc>
                <a:spcPct val="150000"/>
              </a:lnSpc>
              <a:buClr>
                <a:srgbClr val="005117"/>
              </a:buClr>
              <a:buSzPct val="130000"/>
              <a:buFont typeface="Wingdings" panose="05000000000000000000" pitchFamily="2" charset="2"/>
              <a:buChar char="§"/>
            </a:pPr>
            <a:endParaRPr lang="en-US" sz="2400" spc="-1" dirty="0">
              <a:solidFill>
                <a:srgbClr val="005117"/>
              </a:solidFill>
              <a:latin typeface="Times New Roman"/>
            </a:endParaRPr>
          </a:p>
          <a:p>
            <a:pPr marL="343980" indent="-342900">
              <a:lnSpc>
                <a:spcPct val="150000"/>
              </a:lnSpc>
              <a:buClr>
                <a:srgbClr val="005117"/>
              </a:buClr>
              <a:buSzPct val="130000"/>
              <a:buFont typeface="Wingdings" panose="05000000000000000000" pitchFamily="2" charset="2"/>
              <a:buChar char="§"/>
            </a:pPr>
            <a:r>
              <a:rPr lang="en-US" sz="2400" b="1" spc="-1" dirty="0">
                <a:solidFill>
                  <a:srgbClr val="005117"/>
                </a:solidFill>
                <a:latin typeface="Times New Roman"/>
              </a:rPr>
              <a:t>Dropout method: </a:t>
            </a:r>
            <a:r>
              <a:rPr lang="en-US" sz="2400" spc="-1" dirty="0">
                <a:solidFill>
                  <a:srgbClr val="005117"/>
                </a:solidFill>
                <a:latin typeface="Times New Roman"/>
              </a:rPr>
              <a:t>randomly deleting some nodes and their connections from the network</a:t>
            </a:r>
            <a:r>
              <a:rPr lang="tr-TR" sz="2400" spc="-1" dirty="0">
                <a:solidFill>
                  <a:srgbClr val="005117"/>
                </a:solidFill>
                <a:latin typeface="Times New Roman"/>
              </a:rPr>
              <a:t> (</a:t>
            </a:r>
            <a:r>
              <a:rPr lang="tr-TR" sz="2400" spc="-1" dirty="0">
                <a:solidFill>
                  <a:srgbClr val="FF0000"/>
                </a:solidFill>
                <a:latin typeface="Times New Roman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ink</a:t>
            </a:r>
            <a:r>
              <a:rPr lang="tr-TR" sz="2400" spc="-1" dirty="0">
                <a:solidFill>
                  <a:srgbClr val="005117"/>
                </a:solidFill>
                <a:latin typeface="Times New Roman"/>
              </a:rPr>
              <a:t>)</a:t>
            </a:r>
            <a:endParaRPr lang="en-US" sz="2400" spc="-1" dirty="0">
              <a:solidFill>
                <a:srgbClr val="005117"/>
              </a:solidFill>
              <a:latin typeface="Times New Roman"/>
            </a:endParaRPr>
          </a:p>
          <a:p>
            <a:pPr marL="343980" indent="-342900">
              <a:lnSpc>
                <a:spcPct val="150000"/>
              </a:lnSpc>
              <a:buClr>
                <a:srgbClr val="005117"/>
              </a:buClr>
              <a:buSzPct val="130000"/>
              <a:buFont typeface="Wingdings" panose="05000000000000000000" pitchFamily="2" charset="2"/>
              <a:buChar char="§"/>
            </a:pPr>
            <a:endParaRPr lang="en-US" sz="2400" spc="-1" dirty="0">
              <a:solidFill>
                <a:srgbClr val="005117"/>
              </a:solidFill>
              <a:latin typeface="Times New Roman"/>
            </a:endParaRPr>
          </a:p>
          <a:p>
            <a:pPr marL="343980" indent="-342900">
              <a:lnSpc>
                <a:spcPct val="150000"/>
              </a:lnSpc>
              <a:buClr>
                <a:srgbClr val="005117"/>
              </a:buClr>
              <a:buSzPct val="130000"/>
              <a:buFont typeface="Wingdings" panose="05000000000000000000" pitchFamily="2" charset="2"/>
              <a:buChar char="§"/>
            </a:pPr>
            <a:r>
              <a:rPr lang="en-US" sz="2400" spc="-1" dirty="0">
                <a:solidFill>
                  <a:srgbClr val="005117"/>
                </a:solidFill>
                <a:latin typeface="Times New Roman"/>
              </a:rPr>
              <a:t>Regularization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318012F-C26E-76AF-4D58-10D663C368EC}"/>
              </a:ext>
            </a:extLst>
          </p:cNvPr>
          <p:cNvSpPr/>
          <p:nvPr/>
        </p:nvSpPr>
        <p:spPr>
          <a:xfrm>
            <a:off x="6135326" y="5259039"/>
            <a:ext cx="442172" cy="57996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080">
              <a:lnSpc>
                <a:spcPct val="150000"/>
              </a:lnSpc>
              <a:buClr>
                <a:srgbClr val="005117"/>
              </a:buClr>
              <a:buSzPct val="130000"/>
            </a:pPr>
            <a:r>
              <a:rPr lang="en-US" sz="2400" spc="-1">
                <a:solidFill>
                  <a:srgbClr val="005117"/>
                </a:solidFill>
                <a:latin typeface="Times New Roman"/>
              </a:rPr>
              <a:t>or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10190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E6EF2DD4-1428-4F29-BED0-012580DEB727}"/>
              </a:ext>
            </a:extLst>
          </p:cNvPr>
          <p:cNvGrpSpPr/>
          <p:nvPr/>
        </p:nvGrpSpPr>
        <p:grpSpPr>
          <a:xfrm>
            <a:off x="1" y="6496048"/>
            <a:ext cx="12192000" cy="381103"/>
            <a:chOff x="-1" y="6496048"/>
            <a:chExt cx="12192001" cy="361952"/>
          </a:xfrm>
        </p:grpSpPr>
        <p:sp>
          <p:nvSpPr>
            <p:cNvPr id="17" name="Dikdörtgen 10">
              <a:extLst>
                <a:ext uri="{FF2B5EF4-FFF2-40B4-BE49-F238E27FC236}">
                  <a16:creationId xmlns:a16="http://schemas.microsoft.com/office/drawing/2014/main" id="{C14596DF-271A-400A-B0AE-693FCDF2F217}"/>
                </a:ext>
              </a:extLst>
            </p:cNvPr>
            <p:cNvSpPr/>
            <p:nvPr/>
          </p:nvSpPr>
          <p:spPr>
            <a:xfrm>
              <a:off x="10115547" y="6496049"/>
              <a:ext cx="2076453" cy="361951"/>
            </a:xfrm>
            <a:prstGeom prst="rect">
              <a:avLst/>
            </a:prstGeom>
            <a:solidFill>
              <a:srgbClr val="2198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dirty="0"/>
                <a:t>   Özgür Martin</a:t>
              </a:r>
            </a:p>
          </p:txBody>
        </p:sp>
        <p:sp>
          <p:nvSpPr>
            <p:cNvPr id="18" name="Dikdörtgen 10">
              <a:extLst>
                <a:ext uri="{FF2B5EF4-FFF2-40B4-BE49-F238E27FC236}">
                  <a16:creationId xmlns:a16="http://schemas.microsoft.com/office/drawing/2014/main" id="{84A5B1F6-64B9-4792-8088-33FD44F5342F}"/>
                </a:ext>
              </a:extLst>
            </p:cNvPr>
            <p:cNvSpPr/>
            <p:nvPr/>
          </p:nvSpPr>
          <p:spPr>
            <a:xfrm>
              <a:off x="-1" y="6496048"/>
              <a:ext cx="10151743" cy="361952"/>
            </a:xfrm>
            <a:prstGeom prst="rect">
              <a:avLst/>
            </a:prstGeom>
            <a:solidFill>
              <a:srgbClr val="2198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altLang="ko-KR" dirty="0" err="1">
                  <a:solidFill>
                    <a:schemeClr val="bg1"/>
                  </a:solidFill>
                  <a:cs typeface="Arial" pitchFamily="34" charset="0"/>
                </a:rPr>
                <a:t>Neural</a:t>
              </a:r>
              <a:r>
                <a:rPr lang="tr-TR" altLang="ko-KR" dirty="0">
                  <a:solidFill>
                    <a:schemeClr val="bg1"/>
                  </a:solidFill>
                  <a:cs typeface="Arial" pitchFamily="34" charset="0"/>
                </a:rPr>
                <a:t> Networks</a:t>
              </a:r>
            </a:p>
          </p:txBody>
        </p:sp>
      </p:grpSp>
      <p:sp>
        <p:nvSpPr>
          <p:cNvPr id="5" name="CustomShape 1">
            <a:extLst>
              <a:ext uri="{FF2B5EF4-FFF2-40B4-BE49-F238E27FC236}">
                <a16:creationId xmlns:a16="http://schemas.microsoft.com/office/drawing/2014/main" id="{863F4DA7-D15C-4165-07EE-D0A02C579BBC}"/>
              </a:ext>
            </a:extLst>
          </p:cNvPr>
          <p:cNvSpPr/>
          <p:nvPr/>
        </p:nvSpPr>
        <p:spPr>
          <a:xfrm>
            <a:off x="433670" y="411899"/>
            <a:ext cx="8170920" cy="106488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>
            <a:noAutofit/>
          </a:bodyPr>
          <a:lstStyle/>
          <a:p>
            <a:pPr>
              <a:lnSpc>
                <a:spcPts val="3200"/>
              </a:lnSpc>
            </a:pPr>
            <a:r>
              <a:rPr lang="en-US" sz="2800" b="0" strike="noStrike" spc="-1" dirty="0">
                <a:solidFill>
                  <a:srgbClr val="AB3348"/>
                </a:solidFill>
                <a:latin typeface="Times New Roman"/>
                <a:ea typeface="DejaVu Sans"/>
              </a:rPr>
              <a:t>Vanishing/Exploding Gradients</a:t>
            </a:r>
            <a:endParaRPr lang="en-US" sz="2800" b="0" strike="noStrike" spc="-1" dirty="0">
              <a:latin typeface="Arial"/>
            </a:endParaRPr>
          </a:p>
        </p:txBody>
      </p:sp>
      <p:sp>
        <p:nvSpPr>
          <p:cNvPr id="6" name="CustomShape 2">
            <a:extLst>
              <a:ext uri="{FF2B5EF4-FFF2-40B4-BE49-F238E27FC236}">
                <a16:creationId xmlns:a16="http://schemas.microsoft.com/office/drawing/2014/main" id="{B6D92D49-0D82-60B3-7109-FCE0F8AC777D}"/>
              </a:ext>
            </a:extLst>
          </p:cNvPr>
          <p:cNvSpPr/>
          <p:nvPr/>
        </p:nvSpPr>
        <p:spPr>
          <a:xfrm>
            <a:off x="1845025" y="1177424"/>
            <a:ext cx="8170920" cy="503460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>
            <a:noAutofit/>
          </a:bodyPr>
          <a:lstStyle/>
          <a:p>
            <a:pPr marL="288000" indent="-286920">
              <a:lnSpc>
                <a:spcPct val="150000"/>
              </a:lnSpc>
              <a:buClr>
                <a:srgbClr val="005117"/>
              </a:buClr>
              <a:buSzPct val="130000"/>
              <a:buFont typeface="Wingdings" charset="2"/>
              <a:buChar char=""/>
            </a:pPr>
            <a:r>
              <a:rPr lang="en-US" sz="2000" b="0" strike="noStrike" spc="-1" dirty="0">
                <a:solidFill>
                  <a:srgbClr val="005117"/>
                </a:solidFill>
                <a:latin typeface="Times New Roman"/>
                <a:ea typeface="DejaVu Sans"/>
              </a:rPr>
              <a:t>Gradient gets very small (l</a:t>
            </a:r>
            <a:r>
              <a:rPr lang="en-US" sz="2000" spc="-1" dirty="0">
                <a:solidFill>
                  <a:srgbClr val="005117"/>
                </a:solidFill>
                <a:latin typeface="Times New Roman"/>
                <a:ea typeface="DejaVu Sans"/>
              </a:rPr>
              <a:t>arge)</a:t>
            </a:r>
            <a:r>
              <a:rPr lang="en-US" sz="2000" b="0" strike="noStrike" spc="-1" dirty="0">
                <a:solidFill>
                  <a:srgbClr val="005117"/>
                </a:solidFill>
                <a:latin typeface="Times New Roman"/>
                <a:ea typeface="DejaVu Sans"/>
              </a:rPr>
              <a:t> moving </a:t>
            </a:r>
            <a:r>
              <a:rPr lang="en-US" sz="2000" spc="-1" dirty="0">
                <a:solidFill>
                  <a:srgbClr val="005117"/>
                </a:solidFill>
                <a:latin typeface="Times New Roman"/>
                <a:ea typeface="DejaVu Sans"/>
              </a:rPr>
              <a:t>from last</a:t>
            </a:r>
            <a:r>
              <a:rPr lang="en-US" sz="2000" b="0" strike="noStrike" spc="-1" dirty="0">
                <a:solidFill>
                  <a:srgbClr val="005117"/>
                </a:solidFill>
                <a:latin typeface="Times New Roman"/>
                <a:ea typeface="DejaVu Sans"/>
              </a:rPr>
              <a:t> layers to earlier layers</a:t>
            </a:r>
            <a:endParaRPr lang="en-US" sz="2000" b="0" strike="noStrike" spc="-1" dirty="0">
              <a:latin typeface="Arial"/>
            </a:endParaRPr>
          </a:p>
          <a:p>
            <a:pPr marL="288000" indent="-286920">
              <a:lnSpc>
                <a:spcPct val="150000"/>
              </a:lnSpc>
              <a:buClr>
                <a:srgbClr val="005117"/>
              </a:buClr>
              <a:buSzPct val="130000"/>
              <a:buFont typeface="Wingdings" charset="2"/>
              <a:buChar char=""/>
            </a:pPr>
            <a:r>
              <a:rPr lang="en-US" sz="2000" b="0" strike="noStrike" spc="-1" dirty="0">
                <a:solidFill>
                  <a:srgbClr val="005117"/>
                </a:solidFill>
                <a:latin typeface="Times New Roman"/>
                <a:ea typeface="DejaVu Sans"/>
              </a:rPr>
              <a:t>Training takes a long time or simply fails</a:t>
            </a:r>
            <a:endParaRPr lang="en-US" sz="2000" b="0" strike="noStrike" spc="-1" dirty="0">
              <a:latin typeface="Arial"/>
            </a:endParaRPr>
          </a:p>
          <a:p>
            <a:pPr marL="288000" indent="-286920">
              <a:lnSpc>
                <a:spcPct val="150000"/>
              </a:lnSpc>
              <a:buClr>
                <a:srgbClr val="005117"/>
              </a:buClr>
              <a:buSzPct val="130000"/>
              <a:buFont typeface="Wingdings" charset="2"/>
              <a:buChar char=""/>
            </a:pPr>
            <a:endParaRPr lang="en-US" sz="2000" b="0" strike="noStrike" spc="-1" dirty="0">
              <a:solidFill>
                <a:srgbClr val="005117"/>
              </a:solidFill>
              <a:latin typeface="Times New Roman"/>
              <a:ea typeface="DejaVu Sans"/>
            </a:endParaRPr>
          </a:p>
          <a:p>
            <a:pPr marL="288000" indent="-286920">
              <a:lnSpc>
                <a:spcPct val="150000"/>
              </a:lnSpc>
              <a:buClr>
                <a:srgbClr val="005117"/>
              </a:buClr>
              <a:buSzPct val="130000"/>
              <a:buFont typeface="Wingdings" charset="2"/>
              <a:buChar char=""/>
            </a:pPr>
            <a:endParaRPr lang="en-US" sz="2000" spc="-1" dirty="0">
              <a:solidFill>
                <a:srgbClr val="005117"/>
              </a:solidFill>
              <a:latin typeface="Times New Roman"/>
              <a:ea typeface="DejaVu Sans"/>
            </a:endParaRPr>
          </a:p>
          <a:p>
            <a:pPr marL="288000" indent="-286920">
              <a:lnSpc>
                <a:spcPct val="150000"/>
              </a:lnSpc>
              <a:buClr>
                <a:srgbClr val="005117"/>
              </a:buClr>
              <a:buSzPct val="130000"/>
              <a:buFont typeface="Wingdings" charset="2"/>
              <a:buChar char=""/>
            </a:pPr>
            <a:endParaRPr lang="en-US" sz="2000" b="0" strike="noStrike" spc="-1" dirty="0">
              <a:solidFill>
                <a:srgbClr val="005117"/>
              </a:solidFill>
              <a:latin typeface="Times New Roman"/>
              <a:ea typeface="DejaVu Sans"/>
            </a:endParaRPr>
          </a:p>
          <a:p>
            <a:pPr marL="288000" indent="-286920">
              <a:lnSpc>
                <a:spcPct val="150000"/>
              </a:lnSpc>
              <a:buClr>
                <a:srgbClr val="005117"/>
              </a:buClr>
              <a:buSzPct val="130000"/>
              <a:buFont typeface="Wingdings" charset="2"/>
              <a:buChar char=""/>
            </a:pPr>
            <a:endParaRPr lang="en-US" sz="2000" spc="-1" dirty="0">
              <a:solidFill>
                <a:srgbClr val="005117"/>
              </a:solidFill>
              <a:latin typeface="Times New Roman"/>
              <a:ea typeface="DejaVu Sans"/>
            </a:endParaRPr>
          </a:p>
          <a:p>
            <a:pPr marL="288000" indent="-286920">
              <a:lnSpc>
                <a:spcPct val="150000"/>
              </a:lnSpc>
              <a:buClr>
                <a:srgbClr val="005117"/>
              </a:buClr>
              <a:buSzPct val="130000"/>
              <a:buFont typeface="Wingdings" charset="2"/>
              <a:buChar char=""/>
            </a:pPr>
            <a:endParaRPr lang="en-US" sz="2000" b="0" strike="noStrike" spc="-1" dirty="0">
              <a:solidFill>
                <a:srgbClr val="005117"/>
              </a:solidFill>
              <a:latin typeface="Times New Roman"/>
              <a:ea typeface="DejaVu Sans"/>
            </a:endParaRPr>
          </a:p>
          <a:p>
            <a:pPr marL="288000" indent="-286920">
              <a:lnSpc>
                <a:spcPct val="150000"/>
              </a:lnSpc>
              <a:buClr>
                <a:srgbClr val="005117"/>
              </a:buClr>
              <a:buSzPct val="130000"/>
              <a:buFont typeface="Wingdings" charset="2"/>
              <a:buChar char=""/>
            </a:pPr>
            <a:endParaRPr lang="en-US" sz="2000" b="0" strike="noStrike" spc="-1" dirty="0">
              <a:solidFill>
                <a:srgbClr val="005117"/>
              </a:solidFill>
              <a:latin typeface="Times New Roman"/>
              <a:ea typeface="DejaVu Sans"/>
            </a:endParaRPr>
          </a:p>
          <a:p>
            <a:pPr marL="288000" indent="-286920">
              <a:lnSpc>
                <a:spcPct val="150000"/>
              </a:lnSpc>
              <a:buClr>
                <a:srgbClr val="005117"/>
              </a:buClr>
              <a:buSzPct val="130000"/>
              <a:buFont typeface="Wingdings" charset="2"/>
              <a:buChar char=""/>
            </a:pPr>
            <a:endParaRPr lang="en-US" sz="2000" spc="-1" dirty="0">
              <a:solidFill>
                <a:srgbClr val="005117"/>
              </a:solidFill>
              <a:latin typeface="Times New Roman"/>
              <a:ea typeface="DejaVu Sans"/>
            </a:endParaRPr>
          </a:p>
          <a:p>
            <a:pPr marL="288000" indent="-286920">
              <a:lnSpc>
                <a:spcPct val="150000"/>
              </a:lnSpc>
              <a:buClr>
                <a:srgbClr val="005117"/>
              </a:buClr>
              <a:buSzPct val="130000"/>
              <a:buFont typeface="Wingdings" charset="2"/>
              <a:buChar char=""/>
            </a:pPr>
            <a:r>
              <a:rPr lang="en-US" sz="2000" b="0" strike="noStrike" spc="-1" dirty="0">
                <a:solidFill>
                  <a:srgbClr val="005117"/>
                </a:solidFill>
                <a:latin typeface="Times New Roman"/>
                <a:ea typeface="DejaVu Sans"/>
              </a:rPr>
              <a:t>Smaller initial weight</a:t>
            </a:r>
            <a:r>
              <a:rPr lang="en-US" sz="2000" spc="-1" dirty="0">
                <a:solidFill>
                  <a:srgbClr val="005117"/>
                </a:solidFill>
                <a:latin typeface="Times New Roman"/>
                <a:ea typeface="DejaVu Sans"/>
              </a:rPr>
              <a:t>s lead to vanishing gradients</a:t>
            </a:r>
            <a:endParaRPr lang="en-US" sz="2000" b="0" strike="noStrike" spc="-1" dirty="0">
              <a:latin typeface="Arial"/>
            </a:endParaRPr>
          </a:p>
          <a:p>
            <a:pPr marL="288000" indent="-286920">
              <a:lnSpc>
                <a:spcPct val="150000"/>
              </a:lnSpc>
              <a:buClr>
                <a:srgbClr val="005117"/>
              </a:buClr>
              <a:buSzPct val="130000"/>
              <a:buFont typeface="Wingdings" charset="2"/>
              <a:buChar char=""/>
            </a:pPr>
            <a:r>
              <a:rPr lang="en-US" sz="2000" b="0" strike="noStrike" spc="-1" dirty="0">
                <a:solidFill>
                  <a:srgbClr val="005117"/>
                </a:solidFill>
                <a:latin typeface="Times New Roman"/>
                <a:ea typeface="DejaVu Sans"/>
              </a:rPr>
              <a:t>Larger initial weights lead to explosion of gradients</a:t>
            </a:r>
            <a:endParaRPr lang="en-US" sz="2000" b="0" strike="noStrike" spc="-1" dirty="0">
              <a:latin typeface="Arial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659CB73-2E2C-6967-7DDB-8AA4153E808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/>
        </p:blipFill>
        <p:spPr>
          <a:xfrm>
            <a:off x="2870103" y="2315287"/>
            <a:ext cx="1143000" cy="552450"/>
          </a:xfrm>
          <a:prstGeom prst="rect">
            <a:avLst/>
          </a:prstGeom>
          <a:ln>
            <a:noFill/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CF72F3C-FD1D-4E30-D553-39C6972FF99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/>
        </p:blipFill>
        <p:spPr>
          <a:xfrm>
            <a:off x="3408947" y="2911281"/>
            <a:ext cx="2357438" cy="733425"/>
          </a:xfrm>
          <a:prstGeom prst="rect">
            <a:avLst/>
          </a:prstGeom>
          <a:ln>
            <a:noFill/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BCBD4C5-85CD-619C-3F88-051A9821C92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/>
        </p:blipFill>
        <p:spPr>
          <a:xfrm>
            <a:off x="3441377" y="3822415"/>
            <a:ext cx="4114800" cy="733425"/>
          </a:xfrm>
          <a:prstGeom prst="rect">
            <a:avLst/>
          </a:prstGeom>
          <a:ln>
            <a:noFill/>
          </a:ln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465D02DE-7D32-D0A9-0C4F-7958FDBAA6F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/>
        </p:blipFill>
        <p:spPr>
          <a:xfrm>
            <a:off x="6386920" y="2244530"/>
            <a:ext cx="3629025" cy="514350"/>
          </a:xfrm>
          <a:prstGeom prst="rect">
            <a:avLst/>
          </a:prstGeom>
          <a:ln>
            <a:noFill/>
          </a:ln>
        </p:spPr>
      </p:pic>
      <p:sp>
        <p:nvSpPr>
          <p:cNvPr id="11" name="CustomShape 9">
            <a:extLst>
              <a:ext uri="{FF2B5EF4-FFF2-40B4-BE49-F238E27FC236}">
                <a16:creationId xmlns:a16="http://schemas.microsoft.com/office/drawing/2014/main" id="{3EEA86ED-6F8A-5266-CFE9-C6238CCD70A3}"/>
              </a:ext>
            </a:extLst>
          </p:cNvPr>
          <p:cNvSpPr/>
          <p:nvPr/>
        </p:nvSpPr>
        <p:spPr>
          <a:xfrm>
            <a:off x="4013103" y="4560487"/>
            <a:ext cx="505528" cy="367878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square" lIns="90000" tIns="45000" rIns="90000" bIns="45000">
            <a:spAutoFit/>
          </a:bodyPr>
          <a:lstStyle/>
          <a:p>
            <a:pPr>
              <a:lnSpc>
                <a:spcPct val="100000"/>
              </a:lnSpc>
            </a:pPr>
            <a:r>
              <a:rPr lang="en-US" spc="-1">
                <a:solidFill>
                  <a:srgbClr val="AB3348"/>
                </a:solidFill>
                <a:latin typeface="Times New Roman"/>
                <a:ea typeface="DejaVu Sans"/>
                <a:sym typeface="Symbol" panose="05050102010706020507" pitchFamily="18" charset="2"/>
              </a:rPr>
              <a:t>&lt;</a:t>
            </a:r>
            <a:r>
              <a:rPr lang="en-US" sz="1800" b="0" strike="noStrike" spc="-1">
                <a:solidFill>
                  <a:srgbClr val="AB3348"/>
                </a:solidFill>
                <a:latin typeface="Times New Roman"/>
                <a:ea typeface="DejaVu Sans"/>
                <a:sym typeface="Symbol" panose="05050102010706020507" pitchFamily="18" charset="2"/>
              </a:rPr>
              <a:t> </a:t>
            </a:r>
            <a:r>
              <a:rPr lang="en-US" sz="1800" b="0" strike="noStrike" spc="-1">
                <a:solidFill>
                  <a:srgbClr val="AB3348"/>
                </a:solidFill>
                <a:latin typeface="Times New Roman"/>
                <a:ea typeface="DejaVu Sans"/>
              </a:rPr>
              <a:t>1</a:t>
            </a:r>
            <a:endParaRPr lang="en-US" sz="1800" b="0" strike="noStrike" spc="-1">
              <a:latin typeface="Arial"/>
            </a:endParaRPr>
          </a:p>
        </p:txBody>
      </p:sp>
      <p:sp>
        <p:nvSpPr>
          <p:cNvPr id="12" name="CustomShape 9">
            <a:extLst>
              <a:ext uri="{FF2B5EF4-FFF2-40B4-BE49-F238E27FC236}">
                <a16:creationId xmlns:a16="http://schemas.microsoft.com/office/drawing/2014/main" id="{FFDAF418-5306-9B9B-8FCF-B65A4238767F}"/>
              </a:ext>
            </a:extLst>
          </p:cNvPr>
          <p:cNvSpPr/>
          <p:nvPr/>
        </p:nvSpPr>
        <p:spPr>
          <a:xfrm>
            <a:off x="5184927" y="4560487"/>
            <a:ext cx="505528" cy="367878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square" lIns="90000" tIns="45000" rIns="90000" bIns="45000">
            <a:spAutoFit/>
          </a:bodyPr>
          <a:lstStyle/>
          <a:p>
            <a:pPr>
              <a:lnSpc>
                <a:spcPct val="100000"/>
              </a:lnSpc>
            </a:pPr>
            <a:r>
              <a:rPr lang="en-US" spc="-1">
                <a:solidFill>
                  <a:srgbClr val="AB3348"/>
                </a:solidFill>
                <a:latin typeface="Times New Roman"/>
                <a:ea typeface="DejaVu Sans"/>
                <a:sym typeface="Symbol" panose="05050102010706020507" pitchFamily="18" charset="2"/>
              </a:rPr>
              <a:t>&lt;</a:t>
            </a:r>
            <a:r>
              <a:rPr lang="en-US" sz="1800" b="0" strike="noStrike" spc="-1">
                <a:solidFill>
                  <a:srgbClr val="AB3348"/>
                </a:solidFill>
                <a:latin typeface="Times New Roman"/>
                <a:ea typeface="DejaVu Sans"/>
                <a:sym typeface="Symbol" panose="05050102010706020507" pitchFamily="18" charset="2"/>
              </a:rPr>
              <a:t> </a:t>
            </a:r>
            <a:r>
              <a:rPr lang="en-US" sz="1800" b="0" strike="noStrike" spc="-1">
                <a:solidFill>
                  <a:srgbClr val="AB3348"/>
                </a:solidFill>
                <a:latin typeface="Times New Roman"/>
                <a:ea typeface="DejaVu Sans"/>
              </a:rPr>
              <a:t>1</a:t>
            </a:r>
            <a:endParaRPr lang="en-US" sz="1800" b="0" strike="noStrike" spc="-1">
              <a:latin typeface="Arial"/>
            </a:endParaRPr>
          </a:p>
        </p:txBody>
      </p:sp>
      <p:sp>
        <p:nvSpPr>
          <p:cNvPr id="13" name="CustomShape 9">
            <a:extLst>
              <a:ext uri="{FF2B5EF4-FFF2-40B4-BE49-F238E27FC236}">
                <a16:creationId xmlns:a16="http://schemas.microsoft.com/office/drawing/2014/main" id="{09E396D2-3877-965C-7DB0-06AFBE09471B}"/>
              </a:ext>
            </a:extLst>
          </p:cNvPr>
          <p:cNvSpPr/>
          <p:nvPr/>
        </p:nvSpPr>
        <p:spPr>
          <a:xfrm>
            <a:off x="7347049" y="4560487"/>
            <a:ext cx="505528" cy="367878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square" lIns="90000" tIns="45000" rIns="90000" bIns="45000">
            <a:spAutoFit/>
          </a:bodyPr>
          <a:lstStyle/>
          <a:p>
            <a:pPr>
              <a:lnSpc>
                <a:spcPct val="100000"/>
              </a:lnSpc>
            </a:pPr>
            <a:r>
              <a:rPr lang="en-US" spc="-1">
                <a:solidFill>
                  <a:srgbClr val="AB3348"/>
                </a:solidFill>
                <a:latin typeface="Times New Roman"/>
                <a:ea typeface="DejaVu Sans"/>
                <a:sym typeface="Symbol" panose="05050102010706020507" pitchFamily="18" charset="2"/>
              </a:rPr>
              <a:t></a:t>
            </a:r>
            <a:r>
              <a:rPr lang="en-US" sz="1800" b="0" strike="noStrike" spc="-1">
                <a:solidFill>
                  <a:srgbClr val="AB3348"/>
                </a:solidFill>
                <a:latin typeface="Times New Roman"/>
                <a:ea typeface="DejaVu Sans"/>
                <a:sym typeface="Symbol" panose="05050102010706020507" pitchFamily="18" charset="2"/>
              </a:rPr>
              <a:t> </a:t>
            </a:r>
            <a:r>
              <a:rPr lang="en-US" sz="1800" b="0" strike="noStrike" spc="-1">
                <a:solidFill>
                  <a:srgbClr val="AB3348"/>
                </a:solidFill>
                <a:latin typeface="Times New Roman"/>
                <a:ea typeface="DejaVu Sans"/>
              </a:rPr>
              <a:t>1</a:t>
            </a:r>
            <a:endParaRPr lang="en-US" sz="1800" b="0" strike="noStrike" spc="-1">
              <a:latin typeface="Arial"/>
            </a:endParaRPr>
          </a:p>
        </p:txBody>
      </p:sp>
      <p:sp>
        <p:nvSpPr>
          <p:cNvPr id="14" name="Left Brace 13">
            <a:extLst>
              <a:ext uri="{FF2B5EF4-FFF2-40B4-BE49-F238E27FC236}">
                <a16:creationId xmlns:a16="http://schemas.microsoft.com/office/drawing/2014/main" id="{CD36E257-C2A2-B07E-B448-28FA572C2C6F}"/>
              </a:ext>
            </a:extLst>
          </p:cNvPr>
          <p:cNvSpPr/>
          <p:nvPr/>
        </p:nvSpPr>
        <p:spPr>
          <a:xfrm rot="16200000">
            <a:off x="4052710" y="4194720"/>
            <a:ext cx="224686" cy="595071"/>
          </a:xfrm>
          <a:prstGeom prst="leftBrace">
            <a:avLst>
              <a:gd name="adj1" fmla="val 30843"/>
              <a:gd name="adj2" fmla="val 51171"/>
            </a:avLst>
          </a:prstGeom>
          <a:ln w="19050" cap="flat" cmpd="sng" algn="ctr">
            <a:solidFill>
              <a:srgbClr val="B4475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Left Brace 14">
            <a:extLst>
              <a:ext uri="{FF2B5EF4-FFF2-40B4-BE49-F238E27FC236}">
                <a16:creationId xmlns:a16="http://schemas.microsoft.com/office/drawing/2014/main" id="{0AF9185A-1A80-F800-CABD-8D38BC1874C8}"/>
              </a:ext>
            </a:extLst>
          </p:cNvPr>
          <p:cNvSpPr/>
          <p:nvPr/>
        </p:nvSpPr>
        <p:spPr>
          <a:xfrm rot="16200000">
            <a:off x="5240646" y="4194720"/>
            <a:ext cx="224686" cy="595071"/>
          </a:xfrm>
          <a:prstGeom prst="leftBrace">
            <a:avLst>
              <a:gd name="adj1" fmla="val 30843"/>
              <a:gd name="adj2" fmla="val 51171"/>
            </a:avLst>
          </a:prstGeom>
          <a:ln w="19050" cap="flat" cmpd="sng" algn="ctr">
            <a:solidFill>
              <a:srgbClr val="B4475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Left Brace 18">
            <a:extLst>
              <a:ext uri="{FF2B5EF4-FFF2-40B4-BE49-F238E27FC236}">
                <a16:creationId xmlns:a16="http://schemas.microsoft.com/office/drawing/2014/main" id="{272B23DA-0D1D-9A4D-AD51-2599EAC36BB1}"/>
              </a:ext>
            </a:extLst>
          </p:cNvPr>
          <p:cNvSpPr/>
          <p:nvPr/>
        </p:nvSpPr>
        <p:spPr>
          <a:xfrm rot="16200000">
            <a:off x="7367122" y="4307046"/>
            <a:ext cx="224686" cy="370420"/>
          </a:xfrm>
          <a:prstGeom prst="leftBrace">
            <a:avLst>
              <a:gd name="adj1" fmla="val 30843"/>
              <a:gd name="adj2" fmla="val 51171"/>
            </a:avLst>
          </a:prstGeom>
          <a:ln w="19050" cap="flat" cmpd="sng" algn="ctr">
            <a:solidFill>
              <a:srgbClr val="B4475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CustomShape 14">
            <a:extLst>
              <a:ext uri="{FF2B5EF4-FFF2-40B4-BE49-F238E27FC236}">
                <a16:creationId xmlns:a16="http://schemas.microsoft.com/office/drawing/2014/main" id="{74F61CD1-A1D0-7B3C-EEB6-7EB6ACB3F362}"/>
              </a:ext>
            </a:extLst>
          </p:cNvPr>
          <p:cNvSpPr/>
          <p:nvPr/>
        </p:nvSpPr>
        <p:spPr>
          <a:xfrm>
            <a:off x="6313785" y="2190650"/>
            <a:ext cx="3828160" cy="653760"/>
          </a:xfrm>
          <a:prstGeom prst="rect">
            <a:avLst/>
          </a:prstGeom>
          <a:noFill/>
          <a:ln>
            <a:solidFill>
              <a:srgbClr val="AB3348"/>
            </a:solidFill>
            <a:round/>
          </a:ln>
          <a:effectLst>
            <a:outerShdw blurRad="40000" dist="2304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/>
        </p:style>
      </p:sp>
    </p:spTree>
    <p:custDataLst>
      <p:tags r:id="rId1"/>
    </p:custDataLst>
    <p:extLst>
      <p:ext uri="{BB962C8B-B14F-4D97-AF65-F5344CB8AC3E}">
        <p14:creationId xmlns:p14="http://schemas.microsoft.com/office/powerpoint/2010/main" val="26137937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2" grpId="0"/>
      <p:bldP spid="13" grpId="0"/>
      <p:bldP spid="14" grpId="0" animBg="1"/>
      <p:bldP spid="15" grpId="0" animBg="1"/>
      <p:bldP spid="19" grpId="0" animBg="1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E6EF2DD4-1428-4F29-BED0-012580DEB727}"/>
              </a:ext>
            </a:extLst>
          </p:cNvPr>
          <p:cNvGrpSpPr/>
          <p:nvPr/>
        </p:nvGrpSpPr>
        <p:grpSpPr>
          <a:xfrm>
            <a:off x="1" y="6496048"/>
            <a:ext cx="12192000" cy="381103"/>
            <a:chOff x="-1" y="6496048"/>
            <a:chExt cx="12192001" cy="361952"/>
          </a:xfrm>
        </p:grpSpPr>
        <p:sp>
          <p:nvSpPr>
            <p:cNvPr id="17" name="Dikdörtgen 10">
              <a:extLst>
                <a:ext uri="{FF2B5EF4-FFF2-40B4-BE49-F238E27FC236}">
                  <a16:creationId xmlns:a16="http://schemas.microsoft.com/office/drawing/2014/main" id="{C14596DF-271A-400A-B0AE-693FCDF2F217}"/>
                </a:ext>
              </a:extLst>
            </p:cNvPr>
            <p:cNvSpPr/>
            <p:nvPr/>
          </p:nvSpPr>
          <p:spPr>
            <a:xfrm>
              <a:off x="10115547" y="6496049"/>
              <a:ext cx="2076453" cy="361951"/>
            </a:xfrm>
            <a:prstGeom prst="rect">
              <a:avLst/>
            </a:prstGeom>
            <a:solidFill>
              <a:srgbClr val="2198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dirty="0"/>
                <a:t>   Özgür Martin</a:t>
              </a:r>
            </a:p>
          </p:txBody>
        </p:sp>
        <p:sp>
          <p:nvSpPr>
            <p:cNvPr id="18" name="Dikdörtgen 10">
              <a:extLst>
                <a:ext uri="{FF2B5EF4-FFF2-40B4-BE49-F238E27FC236}">
                  <a16:creationId xmlns:a16="http://schemas.microsoft.com/office/drawing/2014/main" id="{84A5B1F6-64B9-4792-8088-33FD44F5342F}"/>
                </a:ext>
              </a:extLst>
            </p:cNvPr>
            <p:cNvSpPr/>
            <p:nvPr/>
          </p:nvSpPr>
          <p:spPr>
            <a:xfrm>
              <a:off x="-1" y="6496048"/>
              <a:ext cx="10151743" cy="361952"/>
            </a:xfrm>
            <a:prstGeom prst="rect">
              <a:avLst/>
            </a:prstGeom>
            <a:solidFill>
              <a:srgbClr val="2198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altLang="ko-KR" dirty="0" err="1">
                  <a:solidFill>
                    <a:schemeClr val="bg1"/>
                  </a:solidFill>
                  <a:cs typeface="Arial" pitchFamily="34" charset="0"/>
                </a:rPr>
                <a:t>Neural</a:t>
              </a:r>
              <a:r>
                <a:rPr lang="tr-TR" altLang="ko-KR" dirty="0">
                  <a:solidFill>
                    <a:schemeClr val="bg1"/>
                  </a:solidFill>
                  <a:cs typeface="Arial" pitchFamily="34" charset="0"/>
                </a:rPr>
                <a:t> Networks</a:t>
              </a:r>
            </a:p>
          </p:txBody>
        </p:sp>
      </p:grpSp>
      <p:sp>
        <p:nvSpPr>
          <p:cNvPr id="5" name="CustomShape 1">
            <a:extLst>
              <a:ext uri="{FF2B5EF4-FFF2-40B4-BE49-F238E27FC236}">
                <a16:creationId xmlns:a16="http://schemas.microsoft.com/office/drawing/2014/main" id="{F2EB23B8-C81B-69AD-9B2E-06E48C92D152}"/>
              </a:ext>
            </a:extLst>
          </p:cNvPr>
          <p:cNvSpPr/>
          <p:nvPr/>
        </p:nvSpPr>
        <p:spPr>
          <a:xfrm>
            <a:off x="537322" y="276644"/>
            <a:ext cx="8347737" cy="93557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>
            <a:noAutofit/>
          </a:bodyPr>
          <a:lstStyle/>
          <a:p>
            <a:pPr>
              <a:lnSpc>
                <a:spcPts val="3200"/>
              </a:lnSpc>
            </a:pPr>
            <a:r>
              <a:rPr lang="en-US" sz="2800" b="0" strike="noStrike" spc="-1" dirty="0">
                <a:solidFill>
                  <a:srgbClr val="AB3348"/>
                </a:solidFill>
                <a:latin typeface="Times New Roman"/>
                <a:ea typeface="DejaVu Sans"/>
              </a:rPr>
              <a:t>Convolutional Neural Network (CNN)</a:t>
            </a:r>
            <a:endParaRPr lang="en-US" sz="2800" b="0" strike="noStrike" spc="-1" dirty="0">
              <a:latin typeface="Arial"/>
            </a:endParaRPr>
          </a:p>
        </p:txBody>
      </p:sp>
      <p:sp>
        <p:nvSpPr>
          <p:cNvPr id="6" name="CustomShape 2">
            <a:extLst>
              <a:ext uri="{FF2B5EF4-FFF2-40B4-BE49-F238E27FC236}">
                <a16:creationId xmlns:a16="http://schemas.microsoft.com/office/drawing/2014/main" id="{918A0E3A-B876-36D3-46F6-E62CE266D946}"/>
              </a:ext>
            </a:extLst>
          </p:cNvPr>
          <p:cNvSpPr/>
          <p:nvPr/>
        </p:nvSpPr>
        <p:spPr>
          <a:xfrm>
            <a:off x="2040333" y="1215456"/>
            <a:ext cx="8347737" cy="245903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>
            <a:noAutofit/>
          </a:bodyPr>
          <a:lstStyle/>
          <a:p>
            <a:pPr marL="343980" indent="-342900">
              <a:lnSpc>
                <a:spcPct val="150000"/>
              </a:lnSpc>
              <a:buClr>
                <a:srgbClr val="005117"/>
              </a:buClr>
              <a:buSzPct val="130000"/>
              <a:buFont typeface="Wingdings" panose="05000000000000000000" pitchFamily="2" charset="2"/>
              <a:buChar char="§"/>
            </a:pPr>
            <a:r>
              <a:rPr lang="en-US" sz="2000" spc="-1" dirty="0">
                <a:solidFill>
                  <a:srgbClr val="005117"/>
                </a:solidFill>
                <a:latin typeface="Times New Roman"/>
              </a:rPr>
              <a:t>Carefully constructed multi-layer neural network</a:t>
            </a:r>
          </a:p>
          <a:p>
            <a:pPr marL="343980" indent="-342900">
              <a:lnSpc>
                <a:spcPct val="150000"/>
              </a:lnSpc>
              <a:buClr>
                <a:srgbClr val="005117"/>
              </a:buClr>
              <a:buSzPct val="130000"/>
              <a:buFont typeface="Wingdings" panose="05000000000000000000" pitchFamily="2" charset="2"/>
              <a:buChar char="§"/>
            </a:pPr>
            <a:r>
              <a:rPr lang="en-US" sz="2000" spc="-1" dirty="0">
                <a:solidFill>
                  <a:srgbClr val="005117"/>
                </a:solidFill>
                <a:latin typeface="Times New Roman"/>
              </a:rPr>
              <a:t>Exploits the spatial structure of data (object recognition)</a:t>
            </a:r>
          </a:p>
          <a:p>
            <a:pPr marL="343980" indent="-342900">
              <a:lnSpc>
                <a:spcPct val="150000"/>
              </a:lnSpc>
              <a:buClr>
                <a:srgbClr val="005117"/>
              </a:buClr>
              <a:buSzPct val="130000"/>
              <a:buFont typeface="Wingdings" panose="05000000000000000000" pitchFamily="2" charset="2"/>
              <a:buChar char="§"/>
            </a:pPr>
            <a:r>
              <a:rPr lang="en-US" sz="2000" spc="-1" dirty="0">
                <a:solidFill>
                  <a:srgbClr val="005117"/>
                </a:solidFill>
                <a:latin typeface="Times New Roman"/>
              </a:rPr>
              <a:t>First layers learn simple patterns, subsequent layers recombine them</a:t>
            </a:r>
          </a:p>
          <a:p>
            <a:pPr marL="343980" indent="-342900">
              <a:lnSpc>
                <a:spcPct val="150000"/>
              </a:lnSpc>
              <a:buClr>
                <a:srgbClr val="005117"/>
              </a:buClr>
              <a:buSzPct val="130000"/>
              <a:buFont typeface="Wingdings" panose="05000000000000000000" pitchFamily="2" charset="2"/>
              <a:buChar char="§"/>
            </a:pPr>
            <a:r>
              <a:rPr lang="en-US" sz="2000" spc="-1" dirty="0">
                <a:solidFill>
                  <a:srgbClr val="005117"/>
                </a:solidFill>
                <a:latin typeface="Times New Roman"/>
              </a:rPr>
              <a:t>Hidden layers detect the same local structure</a:t>
            </a:r>
          </a:p>
          <a:p>
            <a:pPr marL="343980" indent="-342900">
              <a:lnSpc>
                <a:spcPct val="150000"/>
              </a:lnSpc>
              <a:buClr>
                <a:srgbClr val="005117"/>
              </a:buClr>
              <a:buSzPct val="130000"/>
              <a:buFont typeface="Wingdings" panose="05000000000000000000" pitchFamily="2" charset="2"/>
              <a:buChar char="§"/>
            </a:pPr>
            <a:r>
              <a:rPr lang="en-US" sz="2000" spc="-1" dirty="0" err="1">
                <a:solidFill>
                  <a:srgbClr val="005117"/>
                </a:solidFill>
                <a:latin typeface="Times New Roman"/>
              </a:rPr>
              <a:t>ReLU</a:t>
            </a:r>
            <a:r>
              <a:rPr lang="en-US" sz="2000" spc="-1" dirty="0">
                <a:solidFill>
                  <a:srgbClr val="005117"/>
                </a:solidFill>
                <a:latin typeface="Times New Roman"/>
              </a:rPr>
              <a:t> is used for activation</a:t>
            </a:r>
          </a:p>
          <a:p>
            <a:pPr marL="343980" indent="-342900">
              <a:lnSpc>
                <a:spcPct val="150000"/>
              </a:lnSpc>
              <a:buClr>
                <a:srgbClr val="005117"/>
              </a:buClr>
              <a:buSzPct val="130000"/>
              <a:buFont typeface="Wingdings" panose="05000000000000000000" pitchFamily="2" charset="2"/>
              <a:buChar char="§"/>
            </a:pPr>
            <a:r>
              <a:rPr lang="en-US" sz="2000" spc="-1" dirty="0">
                <a:solidFill>
                  <a:srgbClr val="005117"/>
                </a:solidFill>
                <a:latin typeface="Times New Roman"/>
              </a:rPr>
              <a:t>The number of weights and biases decreases significantly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ACE5E2A-5D14-0F89-D5CD-1031B26AA526}"/>
              </a:ext>
            </a:extLst>
          </p:cNvPr>
          <p:cNvPicPr/>
          <p:nvPr/>
        </p:nvPicPr>
        <p:blipFill>
          <a:blip r:embed="rId4"/>
          <a:stretch/>
        </p:blipFill>
        <p:spPr>
          <a:xfrm>
            <a:off x="4090361" y="4234648"/>
            <a:ext cx="3730865" cy="2135555"/>
          </a:xfrm>
          <a:prstGeom prst="rect">
            <a:avLst/>
          </a:prstGeom>
          <a:ln>
            <a:noFill/>
          </a:ln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BD91784C-69C4-F667-666F-74383308AEBC}"/>
              </a:ext>
            </a:extLst>
          </p:cNvPr>
          <p:cNvGrpSpPr/>
          <p:nvPr/>
        </p:nvGrpSpPr>
        <p:grpSpPr>
          <a:xfrm>
            <a:off x="4090361" y="4234648"/>
            <a:ext cx="3730865" cy="2135555"/>
            <a:chOff x="763920" y="2286000"/>
            <a:chExt cx="3651840" cy="2430720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84DC0981-0A67-9FF7-09E3-54408ACE2606}"/>
                </a:ext>
              </a:extLst>
            </p:cNvPr>
            <p:cNvGrpSpPr/>
            <p:nvPr/>
          </p:nvGrpSpPr>
          <p:grpSpPr>
            <a:xfrm>
              <a:off x="763920" y="2286000"/>
              <a:ext cx="3651840" cy="607680"/>
              <a:chOff x="763920" y="2286000"/>
              <a:chExt cx="3651840" cy="607680"/>
            </a:xfrm>
          </p:grpSpPr>
          <p:pic>
            <p:nvPicPr>
              <p:cNvPr id="34" name="Picture 33">
                <a:extLst>
                  <a:ext uri="{FF2B5EF4-FFF2-40B4-BE49-F238E27FC236}">
                    <a16:creationId xmlns:a16="http://schemas.microsoft.com/office/drawing/2014/main" id="{1BCC9BA1-6779-D7D9-15B1-D62B3EF5FBAF}"/>
                  </a:ext>
                </a:extLst>
              </p:cNvPr>
              <p:cNvPicPr/>
              <p:nvPr/>
            </p:nvPicPr>
            <p:blipFill>
              <a:blip r:embed="rId5">
                <a:lum bright="70000" contrast="-70000"/>
              </a:blip>
              <a:stretch/>
            </p:blipFill>
            <p:spPr>
              <a:xfrm>
                <a:off x="763920" y="2286000"/>
                <a:ext cx="607680" cy="607680"/>
              </a:xfrm>
              <a:prstGeom prst="rect">
                <a:avLst/>
              </a:prstGeom>
              <a:ln>
                <a:noFill/>
              </a:ln>
            </p:spPr>
          </p:pic>
          <p:pic>
            <p:nvPicPr>
              <p:cNvPr id="35" name="Picture 34">
                <a:extLst>
                  <a:ext uri="{FF2B5EF4-FFF2-40B4-BE49-F238E27FC236}">
                    <a16:creationId xmlns:a16="http://schemas.microsoft.com/office/drawing/2014/main" id="{6A303E28-87E7-34AB-E824-E5CA31D30307}"/>
                  </a:ext>
                </a:extLst>
              </p:cNvPr>
              <p:cNvPicPr/>
              <p:nvPr/>
            </p:nvPicPr>
            <p:blipFill>
              <a:blip r:embed="rId5">
                <a:lum bright="70000" contrast="-70000"/>
              </a:blip>
              <a:stretch/>
            </p:blipFill>
            <p:spPr>
              <a:xfrm>
                <a:off x="1371600" y="2286000"/>
                <a:ext cx="607680" cy="607680"/>
              </a:xfrm>
              <a:prstGeom prst="rect">
                <a:avLst/>
              </a:prstGeom>
              <a:ln>
                <a:noFill/>
              </a:ln>
            </p:spPr>
          </p:pic>
          <p:pic>
            <p:nvPicPr>
              <p:cNvPr id="36" name="Picture 35">
                <a:extLst>
                  <a:ext uri="{FF2B5EF4-FFF2-40B4-BE49-F238E27FC236}">
                    <a16:creationId xmlns:a16="http://schemas.microsoft.com/office/drawing/2014/main" id="{BE35CE9E-501D-FE5B-F166-2422BD1A6662}"/>
                  </a:ext>
                </a:extLst>
              </p:cNvPr>
              <p:cNvPicPr/>
              <p:nvPr/>
            </p:nvPicPr>
            <p:blipFill>
              <a:blip r:embed="rId5">
                <a:lum bright="70000" contrast="-70000"/>
              </a:blip>
              <a:stretch/>
            </p:blipFill>
            <p:spPr>
              <a:xfrm>
                <a:off x="1985040" y="2286000"/>
                <a:ext cx="607680" cy="607680"/>
              </a:xfrm>
              <a:prstGeom prst="rect">
                <a:avLst/>
              </a:prstGeom>
              <a:ln>
                <a:noFill/>
              </a:ln>
            </p:spPr>
          </p:pic>
          <p:pic>
            <p:nvPicPr>
              <p:cNvPr id="37" name="Picture 36">
                <a:extLst>
                  <a:ext uri="{FF2B5EF4-FFF2-40B4-BE49-F238E27FC236}">
                    <a16:creationId xmlns:a16="http://schemas.microsoft.com/office/drawing/2014/main" id="{09BEEF0B-E654-9868-8695-1C4BE141C53A}"/>
                  </a:ext>
                </a:extLst>
              </p:cNvPr>
              <p:cNvPicPr/>
              <p:nvPr/>
            </p:nvPicPr>
            <p:blipFill>
              <a:blip r:embed="rId5">
                <a:lum bright="70000" contrast="-70000"/>
              </a:blip>
              <a:stretch/>
            </p:blipFill>
            <p:spPr>
              <a:xfrm>
                <a:off x="2592720" y="2286000"/>
                <a:ext cx="607680" cy="607680"/>
              </a:xfrm>
              <a:prstGeom prst="rect">
                <a:avLst/>
              </a:prstGeom>
              <a:ln>
                <a:noFill/>
              </a:ln>
            </p:spPr>
          </p:pic>
          <p:pic>
            <p:nvPicPr>
              <p:cNvPr id="38" name="Picture 37">
                <a:extLst>
                  <a:ext uri="{FF2B5EF4-FFF2-40B4-BE49-F238E27FC236}">
                    <a16:creationId xmlns:a16="http://schemas.microsoft.com/office/drawing/2014/main" id="{17CB9F69-AA49-CAE7-033D-B6D8B7D3FDE4}"/>
                  </a:ext>
                </a:extLst>
              </p:cNvPr>
              <p:cNvPicPr/>
              <p:nvPr/>
            </p:nvPicPr>
            <p:blipFill>
              <a:blip r:embed="rId5">
                <a:lum bright="70000" contrast="-70000"/>
              </a:blip>
              <a:stretch/>
            </p:blipFill>
            <p:spPr>
              <a:xfrm>
                <a:off x="3200400" y="2286000"/>
                <a:ext cx="607680" cy="607680"/>
              </a:xfrm>
              <a:prstGeom prst="rect">
                <a:avLst/>
              </a:prstGeom>
              <a:ln>
                <a:noFill/>
              </a:ln>
            </p:spPr>
          </p:pic>
          <p:pic>
            <p:nvPicPr>
              <p:cNvPr id="39" name="Picture 38">
                <a:extLst>
                  <a:ext uri="{FF2B5EF4-FFF2-40B4-BE49-F238E27FC236}">
                    <a16:creationId xmlns:a16="http://schemas.microsoft.com/office/drawing/2014/main" id="{D98DEA6C-6ABC-1141-A559-45D62551B618}"/>
                  </a:ext>
                </a:extLst>
              </p:cNvPr>
              <p:cNvPicPr/>
              <p:nvPr/>
            </p:nvPicPr>
            <p:blipFill>
              <a:blip r:embed="rId5">
                <a:lum bright="70000" contrast="-70000"/>
              </a:blip>
              <a:stretch/>
            </p:blipFill>
            <p:spPr>
              <a:xfrm>
                <a:off x="3808080" y="2286000"/>
                <a:ext cx="607680" cy="607680"/>
              </a:xfrm>
              <a:prstGeom prst="rect">
                <a:avLst/>
              </a:prstGeom>
              <a:ln>
                <a:noFill/>
              </a:ln>
            </p:spPr>
          </p:pic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145158BF-A846-9E89-2AA3-D2A901551B77}"/>
                </a:ext>
              </a:extLst>
            </p:cNvPr>
            <p:cNvGrpSpPr/>
            <p:nvPr/>
          </p:nvGrpSpPr>
          <p:grpSpPr>
            <a:xfrm>
              <a:off x="763920" y="2893680"/>
              <a:ext cx="3651840" cy="607680"/>
              <a:chOff x="763920" y="2893680"/>
              <a:chExt cx="3651840" cy="607680"/>
            </a:xfrm>
          </p:grpSpPr>
          <p:pic>
            <p:nvPicPr>
              <p:cNvPr id="28" name="Picture 27">
                <a:extLst>
                  <a:ext uri="{FF2B5EF4-FFF2-40B4-BE49-F238E27FC236}">
                    <a16:creationId xmlns:a16="http://schemas.microsoft.com/office/drawing/2014/main" id="{104EC9E3-9D48-6395-A263-C8044C8564EA}"/>
                  </a:ext>
                </a:extLst>
              </p:cNvPr>
              <p:cNvPicPr/>
              <p:nvPr/>
            </p:nvPicPr>
            <p:blipFill>
              <a:blip r:embed="rId5">
                <a:lum bright="70000" contrast="-70000"/>
              </a:blip>
              <a:stretch/>
            </p:blipFill>
            <p:spPr>
              <a:xfrm>
                <a:off x="763920" y="2893680"/>
                <a:ext cx="607680" cy="607680"/>
              </a:xfrm>
              <a:prstGeom prst="rect">
                <a:avLst/>
              </a:prstGeom>
              <a:ln>
                <a:noFill/>
              </a:ln>
            </p:spPr>
          </p:pic>
          <p:pic>
            <p:nvPicPr>
              <p:cNvPr id="29" name="Picture 28">
                <a:extLst>
                  <a:ext uri="{FF2B5EF4-FFF2-40B4-BE49-F238E27FC236}">
                    <a16:creationId xmlns:a16="http://schemas.microsoft.com/office/drawing/2014/main" id="{2C111064-683B-EB56-D3F4-FCB2AD515EA0}"/>
                  </a:ext>
                </a:extLst>
              </p:cNvPr>
              <p:cNvPicPr/>
              <p:nvPr/>
            </p:nvPicPr>
            <p:blipFill>
              <a:blip r:embed="rId5">
                <a:lum bright="70000" contrast="-70000"/>
              </a:blip>
              <a:stretch/>
            </p:blipFill>
            <p:spPr>
              <a:xfrm>
                <a:off x="1371600" y="2893680"/>
                <a:ext cx="607680" cy="607680"/>
              </a:xfrm>
              <a:prstGeom prst="rect">
                <a:avLst/>
              </a:prstGeom>
              <a:ln>
                <a:noFill/>
              </a:ln>
            </p:spPr>
          </p:pic>
          <p:pic>
            <p:nvPicPr>
              <p:cNvPr id="30" name="Picture 29">
                <a:extLst>
                  <a:ext uri="{FF2B5EF4-FFF2-40B4-BE49-F238E27FC236}">
                    <a16:creationId xmlns:a16="http://schemas.microsoft.com/office/drawing/2014/main" id="{7FA09CBC-B6BB-0817-4C94-D2600935FED6}"/>
                  </a:ext>
                </a:extLst>
              </p:cNvPr>
              <p:cNvPicPr/>
              <p:nvPr/>
            </p:nvPicPr>
            <p:blipFill>
              <a:blip r:embed="rId5">
                <a:lum bright="70000" contrast="-70000"/>
              </a:blip>
              <a:stretch/>
            </p:blipFill>
            <p:spPr>
              <a:xfrm>
                <a:off x="1985040" y="2893680"/>
                <a:ext cx="607680" cy="607680"/>
              </a:xfrm>
              <a:prstGeom prst="rect">
                <a:avLst/>
              </a:prstGeom>
              <a:ln>
                <a:noFill/>
              </a:ln>
            </p:spPr>
          </p:pic>
          <p:pic>
            <p:nvPicPr>
              <p:cNvPr id="31" name="Picture 30">
                <a:extLst>
                  <a:ext uri="{FF2B5EF4-FFF2-40B4-BE49-F238E27FC236}">
                    <a16:creationId xmlns:a16="http://schemas.microsoft.com/office/drawing/2014/main" id="{7F9E54E0-C200-7F78-3CA7-A03884C3D87E}"/>
                  </a:ext>
                </a:extLst>
              </p:cNvPr>
              <p:cNvPicPr/>
              <p:nvPr/>
            </p:nvPicPr>
            <p:blipFill>
              <a:blip r:embed="rId5">
                <a:lum bright="70000" contrast="-70000"/>
              </a:blip>
              <a:stretch/>
            </p:blipFill>
            <p:spPr>
              <a:xfrm>
                <a:off x="2592720" y="2893680"/>
                <a:ext cx="607680" cy="607680"/>
              </a:xfrm>
              <a:prstGeom prst="rect">
                <a:avLst/>
              </a:prstGeom>
              <a:ln>
                <a:noFill/>
              </a:ln>
            </p:spPr>
          </p:pic>
          <p:pic>
            <p:nvPicPr>
              <p:cNvPr id="32" name="Picture 31">
                <a:extLst>
                  <a:ext uri="{FF2B5EF4-FFF2-40B4-BE49-F238E27FC236}">
                    <a16:creationId xmlns:a16="http://schemas.microsoft.com/office/drawing/2014/main" id="{F8E05CB0-E0FC-9DBD-0CD0-38456765197B}"/>
                  </a:ext>
                </a:extLst>
              </p:cNvPr>
              <p:cNvPicPr/>
              <p:nvPr/>
            </p:nvPicPr>
            <p:blipFill>
              <a:blip r:embed="rId5">
                <a:lum bright="70000" contrast="-70000"/>
              </a:blip>
              <a:stretch/>
            </p:blipFill>
            <p:spPr>
              <a:xfrm>
                <a:off x="3200400" y="2893680"/>
                <a:ext cx="607680" cy="607680"/>
              </a:xfrm>
              <a:prstGeom prst="rect">
                <a:avLst/>
              </a:prstGeom>
              <a:ln>
                <a:noFill/>
              </a:ln>
            </p:spPr>
          </p:pic>
          <p:pic>
            <p:nvPicPr>
              <p:cNvPr id="33" name="Picture 32">
                <a:extLst>
                  <a:ext uri="{FF2B5EF4-FFF2-40B4-BE49-F238E27FC236}">
                    <a16:creationId xmlns:a16="http://schemas.microsoft.com/office/drawing/2014/main" id="{147C1044-C55D-588F-1A92-23EABCC120DE}"/>
                  </a:ext>
                </a:extLst>
              </p:cNvPr>
              <p:cNvPicPr/>
              <p:nvPr/>
            </p:nvPicPr>
            <p:blipFill>
              <a:blip r:embed="rId5">
                <a:lum bright="70000" contrast="-70000"/>
              </a:blip>
              <a:stretch/>
            </p:blipFill>
            <p:spPr>
              <a:xfrm>
                <a:off x="3808080" y="2893680"/>
                <a:ext cx="607680" cy="607680"/>
              </a:xfrm>
              <a:prstGeom prst="rect">
                <a:avLst/>
              </a:prstGeom>
              <a:ln>
                <a:noFill/>
              </a:ln>
            </p:spPr>
          </p:pic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0B47C522-0C4C-BF41-F58E-1B1C2C503A4A}"/>
                </a:ext>
              </a:extLst>
            </p:cNvPr>
            <p:cNvGrpSpPr/>
            <p:nvPr/>
          </p:nvGrpSpPr>
          <p:grpSpPr>
            <a:xfrm>
              <a:off x="763920" y="3501360"/>
              <a:ext cx="3651840" cy="607680"/>
              <a:chOff x="763920" y="3501360"/>
              <a:chExt cx="3651840" cy="607680"/>
            </a:xfrm>
          </p:grpSpPr>
          <p:pic>
            <p:nvPicPr>
              <p:cNvPr id="22" name="Picture 21">
                <a:extLst>
                  <a:ext uri="{FF2B5EF4-FFF2-40B4-BE49-F238E27FC236}">
                    <a16:creationId xmlns:a16="http://schemas.microsoft.com/office/drawing/2014/main" id="{A04A9E4D-4CAD-35BB-93D3-B1F90FECA658}"/>
                  </a:ext>
                </a:extLst>
              </p:cNvPr>
              <p:cNvPicPr/>
              <p:nvPr/>
            </p:nvPicPr>
            <p:blipFill>
              <a:blip r:embed="rId5">
                <a:lum bright="70000" contrast="-70000"/>
              </a:blip>
              <a:stretch/>
            </p:blipFill>
            <p:spPr>
              <a:xfrm>
                <a:off x="763920" y="3501360"/>
                <a:ext cx="607680" cy="607680"/>
              </a:xfrm>
              <a:prstGeom prst="rect">
                <a:avLst/>
              </a:prstGeom>
              <a:ln>
                <a:noFill/>
              </a:ln>
            </p:spPr>
          </p:pic>
          <p:pic>
            <p:nvPicPr>
              <p:cNvPr id="23" name="Picture 22">
                <a:extLst>
                  <a:ext uri="{FF2B5EF4-FFF2-40B4-BE49-F238E27FC236}">
                    <a16:creationId xmlns:a16="http://schemas.microsoft.com/office/drawing/2014/main" id="{4881A90A-7C79-3E66-4CBD-BB4829325B81}"/>
                  </a:ext>
                </a:extLst>
              </p:cNvPr>
              <p:cNvPicPr/>
              <p:nvPr/>
            </p:nvPicPr>
            <p:blipFill>
              <a:blip r:embed="rId5">
                <a:lum bright="70000" contrast="-70000"/>
              </a:blip>
              <a:stretch/>
            </p:blipFill>
            <p:spPr>
              <a:xfrm>
                <a:off x="1371600" y="3501360"/>
                <a:ext cx="607680" cy="607680"/>
              </a:xfrm>
              <a:prstGeom prst="rect">
                <a:avLst/>
              </a:prstGeom>
              <a:ln>
                <a:noFill/>
              </a:ln>
            </p:spPr>
          </p:pic>
          <p:pic>
            <p:nvPicPr>
              <p:cNvPr id="24" name="Picture 23">
                <a:extLst>
                  <a:ext uri="{FF2B5EF4-FFF2-40B4-BE49-F238E27FC236}">
                    <a16:creationId xmlns:a16="http://schemas.microsoft.com/office/drawing/2014/main" id="{D0FFEE69-70CA-C342-7A0C-28BACF97A464}"/>
                  </a:ext>
                </a:extLst>
              </p:cNvPr>
              <p:cNvPicPr/>
              <p:nvPr/>
            </p:nvPicPr>
            <p:blipFill>
              <a:blip r:embed="rId5">
                <a:lum bright="70000" contrast="-70000"/>
              </a:blip>
              <a:stretch/>
            </p:blipFill>
            <p:spPr>
              <a:xfrm>
                <a:off x="1985040" y="3501360"/>
                <a:ext cx="607680" cy="607680"/>
              </a:xfrm>
              <a:prstGeom prst="rect">
                <a:avLst/>
              </a:prstGeom>
              <a:ln>
                <a:noFill/>
              </a:ln>
            </p:spPr>
          </p:pic>
          <p:pic>
            <p:nvPicPr>
              <p:cNvPr id="25" name="Picture 24">
                <a:extLst>
                  <a:ext uri="{FF2B5EF4-FFF2-40B4-BE49-F238E27FC236}">
                    <a16:creationId xmlns:a16="http://schemas.microsoft.com/office/drawing/2014/main" id="{61989C3B-BC05-98CF-E93E-8ECDC5983FCC}"/>
                  </a:ext>
                </a:extLst>
              </p:cNvPr>
              <p:cNvPicPr/>
              <p:nvPr/>
            </p:nvPicPr>
            <p:blipFill>
              <a:blip r:embed="rId5">
                <a:lum bright="70000" contrast="-70000"/>
              </a:blip>
              <a:stretch/>
            </p:blipFill>
            <p:spPr>
              <a:xfrm>
                <a:off x="2592720" y="3501360"/>
                <a:ext cx="607680" cy="607680"/>
              </a:xfrm>
              <a:prstGeom prst="rect">
                <a:avLst/>
              </a:prstGeom>
              <a:ln>
                <a:noFill/>
              </a:ln>
            </p:spPr>
          </p:pic>
          <p:pic>
            <p:nvPicPr>
              <p:cNvPr id="26" name="Picture 25">
                <a:extLst>
                  <a:ext uri="{FF2B5EF4-FFF2-40B4-BE49-F238E27FC236}">
                    <a16:creationId xmlns:a16="http://schemas.microsoft.com/office/drawing/2014/main" id="{33DC13C1-7F82-D273-583F-5A97F6E26414}"/>
                  </a:ext>
                </a:extLst>
              </p:cNvPr>
              <p:cNvPicPr/>
              <p:nvPr/>
            </p:nvPicPr>
            <p:blipFill>
              <a:blip r:embed="rId5">
                <a:lum bright="70000" contrast="-70000"/>
              </a:blip>
              <a:stretch/>
            </p:blipFill>
            <p:spPr>
              <a:xfrm>
                <a:off x="3200400" y="3501360"/>
                <a:ext cx="607680" cy="607680"/>
              </a:xfrm>
              <a:prstGeom prst="rect">
                <a:avLst/>
              </a:prstGeom>
              <a:ln>
                <a:noFill/>
              </a:ln>
            </p:spPr>
          </p:pic>
          <p:pic>
            <p:nvPicPr>
              <p:cNvPr id="27" name="Picture 26">
                <a:extLst>
                  <a:ext uri="{FF2B5EF4-FFF2-40B4-BE49-F238E27FC236}">
                    <a16:creationId xmlns:a16="http://schemas.microsoft.com/office/drawing/2014/main" id="{B2FAE402-ADCC-3882-EAD4-6E25E578D7EC}"/>
                  </a:ext>
                </a:extLst>
              </p:cNvPr>
              <p:cNvPicPr/>
              <p:nvPr/>
            </p:nvPicPr>
            <p:blipFill>
              <a:blip r:embed="rId5">
                <a:lum bright="70000" contrast="-70000"/>
              </a:blip>
              <a:stretch/>
            </p:blipFill>
            <p:spPr>
              <a:xfrm>
                <a:off x="3808080" y="3501360"/>
                <a:ext cx="607680" cy="607680"/>
              </a:xfrm>
              <a:prstGeom prst="rect">
                <a:avLst/>
              </a:prstGeom>
              <a:ln>
                <a:noFill/>
              </a:ln>
            </p:spPr>
          </p:pic>
        </p:grp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4007D9BC-704B-922A-FFD5-396F04ABD06B}"/>
                </a:ext>
              </a:extLst>
            </p:cNvPr>
            <p:cNvGrpSpPr/>
            <p:nvPr/>
          </p:nvGrpSpPr>
          <p:grpSpPr>
            <a:xfrm>
              <a:off x="763920" y="4109040"/>
              <a:ext cx="3651840" cy="607680"/>
              <a:chOff x="763920" y="4109040"/>
              <a:chExt cx="3651840" cy="607680"/>
            </a:xfrm>
          </p:grpSpPr>
          <p:pic>
            <p:nvPicPr>
              <p:cNvPr id="13" name="Picture 12">
                <a:extLst>
                  <a:ext uri="{FF2B5EF4-FFF2-40B4-BE49-F238E27FC236}">
                    <a16:creationId xmlns:a16="http://schemas.microsoft.com/office/drawing/2014/main" id="{6B74E55B-35A9-9CF2-C58A-586AED1C6FE8}"/>
                  </a:ext>
                </a:extLst>
              </p:cNvPr>
              <p:cNvPicPr/>
              <p:nvPr/>
            </p:nvPicPr>
            <p:blipFill>
              <a:blip r:embed="rId5">
                <a:lum bright="70000" contrast="-70000"/>
              </a:blip>
              <a:stretch/>
            </p:blipFill>
            <p:spPr>
              <a:xfrm>
                <a:off x="763920" y="4109040"/>
                <a:ext cx="607680" cy="607680"/>
              </a:xfrm>
              <a:prstGeom prst="rect">
                <a:avLst/>
              </a:prstGeom>
              <a:ln>
                <a:noFill/>
              </a:ln>
            </p:spPr>
          </p:pic>
          <p:pic>
            <p:nvPicPr>
              <p:cNvPr id="14" name="Picture 13">
                <a:extLst>
                  <a:ext uri="{FF2B5EF4-FFF2-40B4-BE49-F238E27FC236}">
                    <a16:creationId xmlns:a16="http://schemas.microsoft.com/office/drawing/2014/main" id="{2D77CE83-8A63-83C8-0E0D-382B3BB88EE8}"/>
                  </a:ext>
                </a:extLst>
              </p:cNvPr>
              <p:cNvPicPr/>
              <p:nvPr/>
            </p:nvPicPr>
            <p:blipFill>
              <a:blip r:embed="rId5">
                <a:lum bright="70000" contrast="-70000"/>
              </a:blip>
              <a:stretch/>
            </p:blipFill>
            <p:spPr>
              <a:xfrm>
                <a:off x="1371600" y="4109040"/>
                <a:ext cx="607680" cy="607680"/>
              </a:xfrm>
              <a:prstGeom prst="rect">
                <a:avLst/>
              </a:prstGeom>
              <a:ln>
                <a:noFill/>
              </a:ln>
            </p:spPr>
          </p:pic>
          <p:pic>
            <p:nvPicPr>
              <p:cNvPr id="15" name="Picture 14">
                <a:extLst>
                  <a:ext uri="{FF2B5EF4-FFF2-40B4-BE49-F238E27FC236}">
                    <a16:creationId xmlns:a16="http://schemas.microsoft.com/office/drawing/2014/main" id="{95FF2E45-7756-34EF-941D-72FFFEF4022A}"/>
                  </a:ext>
                </a:extLst>
              </p:cNvPr>
              <p:cNvPicPr/>
              <p:nvPr/>
            </p:nvPicPr>
            <p:blipFill>
              <a:blip r:embed="rId5">
                <a:lum bright="70000" contrast="-70000"/>
              </a:blip>
              <a:stretch/>
            </p:blipFill>
            <p:spPr>
              <a:xfrm>
                <a:off x="1985040" y="4109040"/>
                <a:ext cx="607680" cy="607680"/>
              </a:xfrm>
              <a:prstGeom prst="rect">
                <a:avLst/>
              </a:prstGeom>
              <a:ln>
                <a:noFill/>
              </a:ln>
            </p:spPr>
          </p:pic>
          <p:pic>
            <p:nvPicPr>
              <p:cNvPr id="19" name="Picture 18">
                <a:extLst>
                  <a:ext uri="{FF2B5EF4-FFF2-40B4-BE49-F238E27FC236}">
                    <a16:creationId xmlns:a16="http://schemas.microsoft.com/office/drawing/2014/main" id="{80CA2029-1658-493A-6768-180EA588DBFA}"/>
                  </a:ext>
                </a:extLst>
              </p:cNvPr>
              <p:cNvPicPr/>
              <p:nvPr/>
            </p:nvPicPr>
            <p:blipFill>
              <a:blip r:embed="rId5">
                <a:lum bright="70000" contrast="-70000"/>
              </a:blip>
              <a:stretch/>
            </p:blipFill>
            <p:spPr>
              <a:xfrm>
                <a:off x="2592720" y="4109040"/>
                <a:ext cx="607680" cy="607680"/>
              </a:xfrm>
              <a:prstGeom prst="rect">
                <a:avLst/>
              </a:prstGeom>
              <a:ln>
                <a:noFill/>
              </a:ln>
            </p:spPr>
          </p:pic>
          <p:pic>
            <p:nvPicPr>
              <p:cNvPr id="20" name="Picture 19">
                <a:extLst>
                  <a:ext uri="{FF2B5EF4-FFF2-40B4-BE49-F238E27FC236}">
                    <a16:creationId xmlns:a16="http://schemas.microsoft.com/office/drawing/2014/main" id="{E11B4C59-9516-2642-2465-2418CD2D24CF}"/>
                  </a:ext>
                </a:extLst>
              </p:cNvPr>
              <p:cNvPicPr/>
              <p:nvPr/>
            </p:nvPicPr>
            <p:blipFill>
              <a:blip r:embed="rId5">
                <a:lum bright="70000" contrast="-70000"/>
              </a:blip>
              <a:stretch/>
            </p:blipFill>
            <p:spPr>
              <a:xfrm>
                <a:off x="3200400" y="4109040"/>
                <a:ext cx="607680" cy="607680"/>
              </a:xfrm>
              <a:prstGeom prst="rect">
                <a:avLst/>
              </a:prstGeom>
              <a:ln>
                <a:noFill/>
              </a:ln>
            </p:spPr>
          </p:pic>
          <p:pic>
            <p:nvPicPr>
              <p:cNvPr id="21" name="Picture 20">
                <a:extLst>
                  <a:ext uri="{FF2B5EF4-FFF2-40B4-BE49-F238E27FC236}">
                    <a16:creationId xmlns:a16="http://schemas.microsoft.com/office/drawing/2014/main" id="{9C3A6EC6-0D51-7553-6707-1C2CCF5A1E30}"/>
                  </a:ext>
                </a:extLst>
              </p:cNvPr>
              <p:cNvPicPr/>
              <p:nvPr/>
            </p:nvPicPr>
            <p:blipFill>
              <a:blip r:embed="rId5">
                <a:lum bright="70000" contrast="-70000"/>
              </a:blip>
              <a:stretch/>
            </p:blipFill>
            <p:spPr>
              <a:xfrm>
                <a:off x="3808080" y="4109040"/>
                <a:ext cx="607680" cy="607680"/>
              </a:xfrm>
              <a:prstGeom prst="rect">
                <a:avLst/>
              </a:prstGeom>
              <a:ln>
                <a:noFill/>
              </a:ln>
            </p:spPr>
          </p:pic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3025933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E6EF2DD4-1428-4F29-BED0-012580DEB727}"/>
              </a:ext>
            </a:extLst>
          </p:cNvPr>
          <p:cNvGrpSpPr/>
          <p:nvPr/>
        </p:nvGrpSpPr>
        <p:grpSpPr>
          <a:xfrm>
            <a:off x="1" y="6496048"/>
            <a:ext cx="12192000" cy="381103"/>
            <a:chOff x="-1" y="6496048"/>
            <a:chExt cx="12192001" cy="361952"/>
          </a:xfrm>
        </p:grpSpPr>
        <p:sp>
          <p:nvSpPr>
            <p:cNvPr id="17" name="Dikdörtgen 10">
              <a:extLst>
                <a:ext uri="{FF2B5EF4-FFF2-40B4-BE49-F238E27FC236}">
                  <a16:creationId xmlns:a16="http://schemas.microsoft.com/office/drawing/2014/main" id="{C14596DF-271A-400A-B0AE-693FCDF2F217}"/>
                </a:ext>
              </a:extLst>
            </p:cNvPr>
            <p:cNvSpPr/>
            <p:nvPr/>
          </p:nvSpPr>
          <p:spPr>
            <a:xfrm>
              <a:off x="10115547" y="6496049"/>
              <a:ext cx="2076453" cy="361951"/>
            </a:xfrm>
            <a:prstGeom prst="rect">
              <a:avLst/>
            </a:prstGeom>
            <a:solidFill>
              <a:srgbClr val="2198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dirty="0"/>
                <a:t>   Özgür Martin</a:t>
              </a:r>
            </a:p>
          </p:txBody>
        </p:sp>
        <p:sp>
          <p:nvSpPr>
            <p:cNvPr id="18" name="Dikdörtgen 10">
              <a:extLst>
                <a:ext uri="{FF2B5EF4-FFF2-40B4-BE49-F238E27FC236}">
                  <a16:creationId xmlns:a16="http://schemas.microsoft.com/office/drawing/2014/main" id="{84A5B1F6-64B9-4792-8088-33FD44F5342F}"/>
                </a:ext>
              </a:extLst>
            </p:cNvPr>
            <p:cNvSpPr/>
            <p:nvPr/>
          </p:nvSpPr>
          <p:spPr>
            <a:xfrm>
              <a:off x="-1" y="6496048"/>
              <a:ext cx="10151743" cy="361952"/>
            </a:xfrm>
            <a:prstGeom prst="rect">
              <a:avLst/>
            </a:prstGeom>
            <a:solidFill>
              <a:srgbClr val="2198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altLang="ko-KR" dirty="0" err="1">
                  <a:solidFill>
                    <a:schemeClr val="bg1"/>
                  </a:solidFill>
                  <a:cs typeface="Arial" pitchFamily="34" charset="0"/>
                </a:rPr>
                <a:t>Neural</a:t>
              </a:r>
              <a:r>
                <a:rPr lang="tr-TR" altLang="ko-KR" dirty="0">
                  <a:solidFill>
                    <a:schemeClr val="bg1"/>
                  </a:solidFill>
                  <a:cs typeface="Arial" pitchFamily="34" charset="0"/>
                </a:rPr>
                <a:t> Networks</a:t>
              </a: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E889D320-9625-A844-5573-4B9A4756FDA8}"/>
              </a:ext>
            </a:extLst>
          </p:cNvPr>
          <p:cNvGrpSpPr/>
          <p:nvPr/>
        </p:nvGrpSpPr>
        <p:grpSpPr>
          <a:xfrm>
            <a:off x="6571792" y="2220524"/>
            <a:ext cx="3070175" cy="1992878"/>
            <a:chOff x="5031609" y="2220524"/>
            <a:chExt cx="3070175" cy="1992878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3F47EFE4-AE04-1EB3-4BF3-0BD62552B127}"/>
                </a:ext>
              </a:extLst>
            </p:cNvPr>
            <p:cNvGrpSpPr/>
            <p:nvPr/>
          </p:nvGrpSpPr>
          <p:grpSpPr>
            <a:xfrm>
              <a:off x="5031609" y="2220524"/>
              <a:ext cx="3070175" cy="1992877"/>
              <a:chOff x="4746945" y="2345178"/>
              <a:chExt cx="3070175" cy="1992877"/>
            </a:xfrm>
          </p:grpSpPr>
          <p:pic>
            <p:nvPicPr>
              <p:cNvPr id="8" name="Picture 7">
                <a:extLst>
                  <a:ext uri="{FF2B5EF4-FFF2-40B4-BE49-F238E27FC236}">
                    <a16:creationId xmlns:a16="http://schemas.microsoft.com/office/drawing/2014/main" id="{00AAEE23-A384-DF16-3E41-25D73B303B17}"/>
                  </a:ext>
                </a:extLst>
              </p:cNvPr>
              <p:cNvPicPr/>
              <p:nvPr/>
            </p:nvPicPr>
            <p:blipFill rotWithShape="1">
              <a:blip r:embed="rId4"/>
              <a:srcRect r="79304"/>
              <a:stretch/>
            </p:blipFill>
            <p:spPr>
              <a:xfrm>
                <a:off x="7695294" y="2345178"/>
                <a:ext cx="121826" cy="623848"/>
              </a:xfrm>
              <a:prstGeom prst="rect">
                <a:avLst/>
              </a:prstGeom>
              <a:ln>
                <a:noFill/>
              </a:ln>
            </p:spPr>
          </p:pic>
          <p:pic>
            <p:nvPicPr>
              <p:cNvPr id="9" name="Picture 8">
                <a:extLst>
                  <a:ext uri="{FF2B5EF4-FFF2-40B4-BE49-F238E27FC236}">
                    <a16:creationId xmlns:a16="http://schemas.microsoft.com/office/drawing/2014/main" id="{6F54D821-38DC-BEEB-40EA-E84AD056056C}"/>
                  </a:ext>
                </a:extLst>
              </p:cNvPr>
              <p:cNvPicPr/>
              <p:nvPr/>
            </p:nvPicPr>
            <p:blipFill>
              <a:blip r:embed="rId4"/>
              <a:stretch/>
            </p:blipFill>
            <p:spPr>
              <a:xfrm>
                <a:off x="4746945" y="2345178"/>
                <a:ext cx="588641" cy="623848"/>
              </a:xfrm>
              <a:prstGeom prst="rect">
                <a:avLst/>
              </a:prstGeom>
              <a:ln>
                <a:noFill/>
              </a:ln>
            </p:spPr>
          </p:pic>
          <p:pic>
            <p:nvPicPr>
              <p:cNvPr id="10" name="Picture 9">
                <a:extLst>
                  <a:ext uri="{FF2B5EF4-FFF2-40B4-BE49-F238E27FC236}">
                    <a16:creationId xmlns:a16="http://schemas.microsoft.com/office/drawing/2014/main" id="{4548C247-4A6E-BD91-65AE-BE03B396FFBE}"/>
                  </a:ext>
                </a:extLst>
              </p:cNvPr>
              <p:cNvPicPr/>
              <p:nvPr/>
            </p:nvPicPr>
            <p:blipFill>
              <a:blip r:embed="rId4"/>
              <a:stretch/>
            </p:blipFill>
            <p:spPr>
              <a:xfrm>
                <a:off x="5335585" y="2345178"/>
                <a:ext cx="588641" cy="623848"/>
              </a:xfrm>
              <a:prstGeom prst="rect">
                <a:avLst/>
              </a:prstGeom>
              <a:ln>
                <a:noFill/>
              </a:ln>
            </p:spPr>
          </p:pic>
          <p:pic>
            <p:nvPicPr>
              <p:cNvPr id="11" name="Picture 10">
                <a:extLst>
                  <a:ext uri="{FF2B5EF4-FFF2-40B4-BE49-F238E27FC236}">
                    <a16:creationId xmlns:a16="http://schemas.microsoft.com/office/drawing/2014/main" id="{54B10B8C-5ACF-F3CA-B679-06F09EEE7AA9}"/>
                  </a:ext>
                </a:extLst>
              </p:cNvPr>
              <p:cNvPicPr/>
              <p:nvPr/>
            </p:nvPicPr>
            <p:blipFill>
              <a:blip r:embed="rId4"/>
              <a:stretch/>
            </p:blipFill>
            <p:spPr>
              <a:xfrm>
                <a:off x="5929372" y="2345178"/>
                <a:ext cx="588641" cy="623848"/>
              </a:xfrm>
              <a:prstGeom prst="rect">
                <a:avLst/>
              </a:prstGeom>
              <a:ln>
                <a:noFill/>
              </a:ln>
            </p:spPr>
          </p:pic>
          <p:pic>
            <p:nvPicPr>
              <p:cNvPr id="12" name="Picture 11">
                <a:extLst>
                  <a:ext uri="{FF2B5EF4-FFF2-40B4-BE49-F238E27FC236}">
                    <a16:creationId xmlns:a16="http://schemas.microsoft.com/office/drawing/2014/main" id="{0463FBBA-106F-FFB8-7D3B-B16C71E54F21}"/>
                  </a:ext>
                </a:extLst>
              </p:cNvPr>
              <p:cNvPicPr/>
              <p:nvPr/>
            </p:nvPicPr>
            <p:blipFill>
              <a:blip r:embed="rId4"/>
              <a:stretch/>
            </p:blipFill>
            <p:spPr>
              <a:xfrm>
                <a:off x="6518013" y="2345178"/>
                <a:ext cx="588641" cy="623848"/>
              </a:xfrm>
              <a:prstGeom prst="rect">
                <a:avLst/>
              </a:prstGeom>
              <a:ln>
                <a:noFill/>
              </a:ln>
            </p:spPr>
          </p:pic>
          <p:pic>
            <p:nvPicPr>
              <p:cNvPr id="13" name="Picture 12">
                <a:extLst>
                  <a:ext uri="{FF2B5EF4-FFF2-40B4-BE49-F238E27FC236}">
                    <a16:creationId xmlns:a16="http://schemas.microsoft.com/office/drawing/2014/main" id="{322C74CB-C5A8-E5B8-A12F-45C194FB3674}"/>
                  </a:ext>
                </a:extLst>
              </p:cNvPr>
              <p:cNvPicPr/>
              <p:nvPr/>
            </p:nvPicPr>
            <p:blipFill>
              <a:blip r:embed="rId4"/>
              <a:stretch/>
            </p:blipFill>
            <p:spPr>
              <a:xfrm>
                <a:off x="7106654" y="2345178"/>
                <a:ext cx="588641" cy="623848"/>
              </a:xfrm>
              <a:prstGeom prst="rect">
                <a:avLst/>
              </a:prstGeom>
              <a:ln>
                <a:noFill/>
              </a:ln>
            </p:spPr>
          </p:pic>
          <p:pic>
            <p:nvPicPr>
              <p:cNvPr id="14" name="Picture 13">
                <a:extLst>
                  <a:ext uri="{FF2B5EF4-FFF2-40B4-BE49-F238E27FC236}">
                    <a16:creationId xmlns:a16="http://schemas.microsoft.com/office/drawing/2014/main" id="{A6808DF3-7B21-0DC5-637A-94DEEFB7ADDC}"/>
                  </a:ext>
                </a:extLst>
              </p:cNvPr>
              <p:cNvPicPr/>
              <p:nvPr/>
            </p:nvPicPr>
            <p:blipFill>
              <a:blip r:embed="rId4"/>
              <a:stretch/>
            </p:blipFill>
            <p:spPr>
              <a:xfrm>
                <a:off x="4746945" y="2969026"/>
                <a:ext cx="588641" cy="623848"/>
              </a:xfrm>
              <a:prstGeom prst="rect">
                <a:avLst/>
              </a:prstGeom>
              <a:ln>
                <a:noFill/>
              </a:ln>
            </p:spPr>
          </p:pic>
          <p:pic>
            <p:nvPicPr>
              <p:cNvPr id="15" name="Picture 14">
                <a:extLst>
                  <a:ext uri="{FF2B5EF4-FFF2-40B4-BE49-F238E27FC236}">
                    <a16:creationId xmlns:a16="http://schemas.microsoft.com/office/drawing/2014/main" id="{37A7BA5F-B8C7-F8DB-212B-217B03335C3B}"/>
                  </a:ext>
                </a:extLst>
              </p:cNvPr>
              <p:cNvPicPr/>
              <p:nvPr/>
            </p:nvPicPr>
            <p:blipFill>
              <a:blip r:embed="rId4"/>
              <a:stretch/>
            </p:blipFill>
            <p:spPr>
              <a:xfrm>
                <a:off x="5335585" y="2969026"/>
                <a:ext cx="588641" cy="623848"/>
              </a:xfrm>
              <a:prstGeom prst="rect">
                <a:avLst/>
              </a:prstGeom>
              <a:ln>
                <a:noFill/>
              </a:ln>
            </p:spPr>
          </p:pic>
          <p:pic>
            <p:nvPicPr>
              <p:cNvPr id="19" name="Picture 18">
                <a:extLst>
                  <a:ext uri="{FF2B5EF4-FFF2-40B4-BE49-F238E27FC236}">
                    <a16:creationId xmlns:a16="http://schemas.microsoft.com/office/drawing/2014/main" id="{56BDCE27-C485-C083-4AAD-0ECF15694268}"/>
                  </a:ext>
                </a:extLst>
              </p:cNvPr>
              <p:cNvPicPr/>
              <p:nvPr/>
            </p:nvPicPr>
            <p:blipFill>
              <a:blip r:embed="rId4"/>
              <a:stretch/>
            </p:blipFill>
            <p:spPr>
              <a:xfrm>
                <a:off x="5929372" y="2969026"/>
                <a:ext cx="588641" cy="623848"/>
              </a:xfrm>
              <a:prstGeom prst="rect">
                <a:avLst/>
              </a:prstGeom>
              <a:ln>
                <a:noFill/>
              </a:ln>
            </p:spPr>
          </p:pic>
          <p:pic>
            <p:nvPicPr>
              <p:cNvPr id="20" name="Picture 19">
                <a:extLst>
                  <a:ext uri="{FF2B5EF4-FFF2-40B4-BE49-F238E27FC236}">
                    <a16:creationId xmlns:a16="http://schemas.microsoft.com/office/drawing/2014/main" id="{72EFE8AD-08EB-83F6-FD51-E205ACAC8923}"/>
                  </a:ext>
                </a:extLst>
              </p:cNvPr>
              <p:cNvPicPr/>
              <p:nvPr/>
            </p:nvPicPr>
            <p:blipFill>
              <a:blip r:embed="rId4"/>
              <a:stretch/>
            </p:blipFill>
            <p:spPr>
              <a:xfrm>
                <a:off x="6518013" y="2969026"/>
                <a:ext cx="588641" cy="623848"/>
              </a:xfrm>
              <a:prstGeom prst="rect">
                <a:avLst/>
              </a:prstGeom>
              <a:ln>
                <a:noFill/>
              </a:ln>
            </p:spPr>
          </p:pic>
          <p:pic>
            <p:nvPicPr>
              <p:cNvPr id="21" name="Picture 20">
                <a:extLst>
                  <a:ext uri="{FF2B5EF4-FFF2-40B4-BE49-F238E27FC236}">
                    <a16:creationId xmlns:a16="http://schemas.microsoft.com/office/drawing/2014/main" id="{A2288509-C68B-0F8A-64E0-F401766D60B4}"/>
                  </a:ext>
                </a:extLst>
              </p:cNvPr>
              <p:cNvPicPr/>
              <p:nvPr/>
            </p:nvPicPr>
            <p:blipFill>
              <a:blip r:embed="rId4"/>
              <a:stretch/>
            </p:blipFill>
            <p:spPr>
              <a:xfrm>
                <a:off x="7106654" y="2969026"/>
                <a:ext cx="588641" cy="623848"/>
              </a:xfrm>
              <a:prstGeom prst="rect">
                <a:avLst/>
              </a:prstGeom>
              <a:ln>
                <a:noFill/>
              </a:ln>
            </p:spPr>
          </p:pic>
          <p:pic>
            <p:nvPicPr>
              <p:cNvPr id="22" name="Picture 21">
                <a:extLst>
                  <a:ext uri="{FF2B5EF4-FFF2-40B4-BE49-F238E27FC236}">
                    <a16:creationId xmlns:a16="http://schemas.microsoft.com/office/drawing/2014/main" id="{7534145B-812E-AAF2-A5BB-2FC5BC4D8B54}"/>
                  </a:ext>
                </a:extLst>
              </p:cNvPr>
              <p:cNvPicPr/>
              <p:nvPr/>
            </p:nvPicPr>
            <p:blipFill>
              <a:blip r:embed="rId4"/>
              <a:stretch/>
            </p:blipFill>
            <p:spPr>
              <a:xfrm>
                <a:off x="4746945" y="3592875"/>
                <a:ext cx="588641" cy="623848"/>
              </a:xfrm>
              <a:prstGeom prst="rect">
                <a:avLst/>
              </a:prstGeom>
              <a:ln>
                <a:noFill/>
              </a:ln>
            </p:spPr>
          </p:pic>
          <p:pic>
            <p:nvPicPr>
              <p:cNvPr id="23" name="Picture 22">
                <a:extLst>
                  <a:ext uri="{FF2B5EF4-FFF2-40B4-BE49-F238E27FC236}">
                    <a16:creationId xmlns:a16="http://schemas.microsoft.com/office/drawing/2014/main" id="{19E74B23-C882-B027-432D-C381C7D79B0D}"/>
                  </a:ext>
                </a:extLst>
              </p:cNvPr>
              <p:cNvPicPr/>
              <p:nvPr/>
            </p:nvPicPr>
            <p:blipFill>
              <a:blip r:embed="rId4"/>
              <a:stretch/>
            </p:blipFill>
            <p:spPr>
              <a:xfrm>
                <a:off x="5335585" y="3592875"/>
                <a:ext cx="588641" cy="623848"/>
              </a:xfrm>
              <a:prstGeom prst="rect">
                <a:avLst/>
              </a:prstGeom>
              <a:ln>
                <a:noFill/>
              </a:ln>
            </p:spPr>
          </p:pic>
          <p:pic>
            <p:nvPicPr>
              <p:cNvPr id="24" name="Picture 23">
                <a:extLst>
                  <a:ext uri="{FF2B5EF4-FFF2-40B4-BE49-F238E27FC236}">
                    <a16:creationId xmlns:a16="http://schemas.microsoft.com/office/drawing/2014/main" id="{E685868A-72B9-865C-9C2C-64B84D1250B2}"/>
                  </a:ext>
                </a:extLst>
              </p:cNvPr>
              <p:cNvPicPr/>
              <p:nvPr/>
            </p:nvPicPr>
            <p:blipFill>
              <a:blip r:embed="rId4"/>
              <a:stretch/>
            </p:blipFill>
            <p:spPr>
              <a:xfrm>
                <a:off x="5929372" y="3592875"/>
                <a:ext cx="588641" cy="623848"/>
              </a:xfrm>
              <a:prstGeom prst="rect">
                <a:avLst/>
              </a:prstGeom>
              <a:ln>
                <a:noFill/>
              </a:ln>
            </p:spPr>
          </p:pic>
          <p:pic>
            <p:nvPicPr>
              <p:cNvPr id="25" name="Picture 24">
                <a:extLst>
                  <a:ext uri="{FF2B5EF4-FFF2-40B4-BE49-F238E27FC236}">
                    <a16:creationId xmlns:a16="http://schemas.microsoft.com/office/drawing/2014/main" id="{EAB40BC6-FDD4-BC7F-A189-EA2E1ACB8BEA}"/>
                  </a:ext>
                </a:extLst>
              </p:cNvPr>
              <p:cNvPicPr/>
              <p:nvPr/>
            </p:nvPicPr>
            <p:blipFill>
              <a:blip r:embed="rId4"/>
              <a:stretch/>
            </p:blipFill>
            <p:spPr>
              <a:xfrm>
                <a:off x="6518013" y="3592875"/>
                <a:ext cx="588641" cy="623848"/>
              </a:xfrm>
              <a:prstGeom prst="rect">
                <a:avLst/>
              </a:prstGeom>
              <a:ln>
                <a:noFill/>
              </a:ln>
            </p:spPr>
          </p:pic>
          <p:pic>
            <p:nvPicPr>
              <p:cNvPr id="26" name="Picture 25">
                <a:extLst>
                  <a:ext uri="{FF2B5EF4-FFF2-40B4-BE49-F238E27FC236}">
                    <a16:creationId xmlns:a16="http://schemas.microsoft.com/office/drawing/2014/main" id="{60410806-1BE5-6320-CAA9-53E44D49F3F9}"/>
                  </a:ext>
                </a:extLst>
              </p:cNvPr>
              <p:cNvPicPr/>
              <p:nvPr/>
            </p:nvPicPr>
            <p:blipFill>
              <a:blip r:embed="rId4"/>
              <a:stretch/>
            </p:blipFill>
            <p:spPr>
              <a:xfrm>
                <a:off x="7106654" y="3592875"/>
                <a:ext cx="588641" cy="623848"/>
              </a:xfrm>
              <a:prstGeom prst="rect">
                <a:avLst/>
              </a:prstGeom>
              <a:ln>
                <a:noFill/>
              </a:ln>
            </p:spPr>
          </p:pic>
          <p:pic>
            <p:nvPicPr>
              <p:cNvPr id="27" name="Picture 26">
                <a:extLst>
                  <a:ext uri="{FF2B5EF4-FFF2-40B4-BE49-F238E27FC236}">
                    <a16:creationId xmlns:a16="http://schemas.microsoft.com/office/drawing/2014/main" id="{99C531BE-06A0-68EE-9AE1-26B860780514}"/>
                  </a:ext>
                </a:extLst>
              </p:cNvPr>
              <p:cNvPicPr/>
              <p:nvPr/>
            </p:nvPicPr>
            <p:blipFill rotWithShape="1">
              <a:blip r:embed="rId4"/>
              <a:srcRect r="79304"/>
              <a:stretch/>
            </p:blipFill>
            <p:spPr>
              <a:xfrm>
                <a:off x="7695292" y="2965006"/>
                <a:ext cx="121826" cy="623848"/>
              </a:xfrm>
              <a:prstGeom prst="rect">
                <a:avLst/>
              </a:prstGeom>
              <a:ln>
                <a:noFill/>
              </a:ln>
            </p:spPr>
          </p:pic>
          <p:pic>
            <p:nvPicPr>
              <p:cNvPr id="28" name="Picture 27">
                <a:extLst>
                  <a:ext uri="{FF2B5EF4-FFF2-40B4-BE49-F238E27FC236}">
                    <a16:creationId xmlns:a16="http://schemas.microsoft.com/office/drawing/2014/main" id="{0D99AB0C-19E0-52CC-A813-67AADA8B985E}"/>
                  </a:ext>
                </a:extLst>
              </p:cNvPr>
              <p:cNvPicPr/>
              <p:nvPr/>
            </p:nvPicPr>
            <p:blipFill rotWithShape="1">
              <a:blip r:embed="rId4"/>
              <a:srcRect r="79304"/>
              <a:stretch/>
            </p:blipFill>
            <p:spPr>
              <a:xfrm>
                <a:off x="7695292" y="3592476"/>
                <a:ext cx="121826" cy="623848"/>
              </a:xfrm>
              <a:prstGeom prst="rect">
                <a:avLst/>
              </a:prstGeom>
              <a:ln>
                <a:noFill/>
              </a:ln>
            </p:spPr>
          </p:pic>
          <p:pic>
            <p:nvPicPr>
              <p:cNvPr id="29" name="Picture 28">
                <a:extLst>
                  <a:ext uri="{FF2B5EF4-FFF2-40B4-BE49-F238E27FC236}">
                    <a16:creationId xmlns:a16="http://schemas.microsoft.com/office/drawing/2014/main" id="{9CD37413-548D-5F4A-ADED-0FF311734A08}"/>
                  </a:ext>
                </a:extLst>
              </p:cNvPr>
              <p:cNvPicPr/>
              <p:nvPr/>
            </p:nvPicPr>
            <p:blipFill rotWithShape="1">
              <a:blip r:embed="rId4"/>
              <a:srcRect l="79416" b="80079"/>
              <a:stretch/>
            </p:blipFill>
            <p:spPr>
              <a:xfrm>
                <a:off x="7693107" y="4213777"/>
                <a:ext cx="121168" cy="124278"/>
              </a:xfrm>
              <a:prstGeom prst="rect">
                <a:avLst/>
              </a:prstGeom>
              <a:ln>
                <a:noFill/>
              </a:ln>
            </p:spPr>
          </p:pic>
          <p:pic>
            <p:nvPicPr>
              <p:cNvPr id="30" name="Picture 29">
                <a:extLst>
                  <a:ext uri="{FF2B5EF4-FFF2-40B4-BE49-F238E27FC236}">
                    <a16:creationId xmlns:a16="http://schemas.microsoft.com/office/drawing/2014/main" id="{910F3F59-BE63-3CB2-B84A-5ED14E0DD25B}"/>
                  </a:ext>
                </a:extLst>
              </p:cNvPr>
              <p:cNvPicPr/>
              <p:nvPr/>
            </p:nvPicPr>
            <p:blipFill rotWithShape="1">
              <a:blip r:embed="rId4"/>
              <a:srcRect t="80079"/>
              <a:stretch/>
            </p:blipFill>
            <p:spPr>
              <a:xfrm>
                <a:off x="7109325" y="4213777"/>
                <a:ext cx="588641" cy="124278"/>
              </a:xfrm>
              <a:prstGeom prst="rect">
                <a:avLst/>
              </a:prstGeom>
              <a:ln>
                <a:noFill/>
              </a:ln>
            </p:spPr>
          </p:pic>
          <p:pic>
            <p:nvPicPr>
              <p:cNvPr id="31" name="Picture 30">
                <a:extLst>
                  <a:ext uri="{FF2B5EF4-FFF2-40B4-BE49-F238E27FC236}">
                    <a16:creationId xmlns:a16="http://schemas.microsoft.com/office/drawing/2014/main" id="{11E8498A-D09D-DA26-0CA2-41790A2A7DEE}"/>
                  </a:ext>
                </a:extLst>
              </p:cNvPr>
              <p:cNvPicPr/>
              <p:nvPr/>
            </p:nvPicPr>
            <p:blipFill rotWithShape="1">
              <a:blip r:embed="rId4"/>
              <a:srcRect t="80079"/>
              <a:stretch/>
            </p:blipFill>
            <p:spPr>
              <a:xfrm>
                <a:off x="6523117" y="4213777"/>
                <a:ext cx="588641" cy="124278"/>
              </a:xfrm>
              <a:prstGeom prst="rect">
                <a:avLst/>
              </a:prstGeom>
              <a:ln>
                <a:noFill/>
              </a:ln>
            </p:spPr>
          </p:pic>
          <p:pic>
            <p:nvPicPr>
              <p:cNvPr id="32" name="Picture 31">
                <a:extLst>
                  <a:ext uri="{FF2B5EF4-FFF2-40B4-BE49-F238E27FC236}">
                    <a16:creationId xmlns:a16="http://schemas.microsoft.com/office/drawing/2014/main" id="{33EEFF9D-6651-7353-EB5F-7EB081A5AC3F}"/>
                  </a:ext>
                </a:extLst>
              </p:cNvPr>
              <p:cNvPicPr/>
              <p:nvPr/>
            </p:nvPicPr>
            <p:blipFill rotWithShape="1">
              <a:blip r:embed="rId4"/>
              <a:srcRect t="80079"/>
              <a:stretch/>
            </p:blipFill>
            <p:spPr>
              <a:xfrm>
                <a:off x="5932446" y="4213777"/>
                <a:ext cx="588641" cy="124278"/>
              </a:xfrm>
              <a:prstGeom prst="rect">
                <a:avLst/>
              </a:prstGeom>
              <a:ln>
                <a:noFill/>
              </a:ln>
            </p:spPr>
          </p:pic>
          <p:pic>
            <p:nvPicPr>
              <p:cNvPr id="33" name="Picture 32">
                <a:extLst>
                  <a:ext uri="{FF2B5EF4-FFF2-40B4-BE49-F238E27FC236}">
                    <a16:creationId xmlns:a16="http://schemas.microsoft.com/office/drawing/2014/main" id="{61C2EADC-3E27-2A32-1D6B-AAEA2AF330E0}"/>
                  </a:ext>
                </a:extLst>
              </p:cNvPr>
              <p:cNvPicPr/>
              <p:nvPr/>
            </p:nvPicPr>
            <p:blipFill rotWithShape="1">
              <a:blip r:embed="rId4"/>
              <a:srcRect t="80079"/>
              <a:stretch/>
            </p:blipFill>
            <p:spPr>
              <a:xfrm>
                <a:off x="5336368" y="4213777"/>
                <a:ext cx="588641" cy="124278"/>
              </a:xfrm>
              <a:prstGeom prst="rect">
                <a:avLst/>
              </a:prstGeom>
              <a:ln>
                <a:noFill/>
              </a:ln>
            </p:spPr>
          </p:pic>
          <p:pic>
            <p:nvPicPr>
              <p:cNvPr id="34" name="Picture 33">
                <a:extLst>
                  <a:ext uri="{FF2B5EF4-FFF2-40B4-BE49-F238E27FC236}">
                    <a16:creationId xmlns:a16="http://schemas.microsoft.com/office/drawing/2014/main" id="{7BA8CA83-C139-A276-7089-8A30242CA70E}"/>
                  </a:ext>
                </a:extLst>
              </p:cNvPr>
              <p:cNvPicPr/>
              <p:nvPr/>
            </p:nvPicPr>
            <p:blipFill rotWithShape="1">
              <a:blip r:embed="rId4"/>
              <a:srcRect t="80079"/>
              <a:stretch/>
            </p:blipFill>
            <p:spPr>
              <a:xfrm>
                <a:off x="4746945" y="4213777"/>
                <a:ext cx="588641" cy="124278"/>
              </a:xfrm>
              <a:prstGeom prst="rect">
                <a:avLst/>
              </a:prstGeom>
              <a:ln>
                <a:noFill/>
              </a:ln>
            </p:spPr>
          </p:pic>
        </p:grp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2739025-7E24-72A4-23AA-FA24261E0794}"/>
                </a:ext>
              </a:extLst>
            </p:cNvPr>
            <p:cNvSpPr/>
            <p:nvPr/>
          </p:nvSpPr>
          <p:spPr>
            <a:xfrm>
              <a:off x="5034142" y="2221084"/>
              <a:ext cx="3064797" cy="1992318"/>
            </a:xfrm>
            <a:prstGeom prst="rect">
              <a:avLst/>
            </a:prstGeom>
            <a:noFill/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79C54289-5EE9-203C-33B9-8020379EBD71}"/>
              </a:ext>
            </a:extLst>
          </p:cNvPr>
          <p:cNvGrpSpPr/>
          <p:nvPr/>
        </p:nvGrpSpPr>
        <p:grpSpPr>
          <a:xfrm>
            <a:off x="2362843" y="1907127"/>
            <a:ext cx="3537069" cy="2497427"/>
            <a:chOff x="822660" y="1907127"/>
            <a:chExt cx="3537069" cy="2497427"/>
          </a:xfrm>
        </p:grpSpPr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F230FA94-509F-6FD8-A3CF-1A3FBEDB78A8}"/>
                </a:ext>
              </a:extLst>
            </p:cNvPr>
            <p:cNvGrpSpPr/>
            <p:nvPr/>
          </p:nvGrpSpPr>
          <p:grpSpPr>
            <a:xfrm>
              <a:off x="822739" y="1909159"/>
              <a:ext cx="3536990" cy="2495395"/>
              <a:chOff x="638157" y="2093182"/>
              <a:chExt cx="3536990" cy="2495395"/>
            </a:xfrm>
          </p:grpSpPr>
          <p:pic>
            <p:nvPicPr>
              <p:cNvPr id="38" name="Picture 37">
                <a:extLst>
                  <a:ext uri="{FF2B5EF4-FFF2-40B4-BE49-F238E27FC236}">
                    <a16:creationId xmlns:a16="http://schemas.microsoft.com/office/drawing/2014/main" id="{9F73BC0E-B279-3A81-0C4F-09A586200B6A}"/>
                  </a:ext>
                </a:extLst>
              </p:cNvPr>
              <p:cNvPicPr/>
              <p:nvPr/>
            </p:nvPicPr>
            <p:blipFill>
              <a:blip r:embed="rId4"/>
              <a:stretch/>
            </p:blipFill>
            <p:spPr>
              <a:xfrm>
                <a:off x="638157" y="2093182"/>
                <a:ext cx="588641" cy="623849"/>
              </a:xfrm>
              <a:prstGeom prst="rect">
                <a:avLst/>
              </a:prstGeom>
              <a:ln>
                <a:noFill/>
              </a:ln>
            </p:spPr>
          </p:pic>
          <p:pic>
            <p:nvPicPr>
              <p:cNvPr id="39" name="Picture 38">
                <a:extLst>
                  <a:ext uri="{FF2B5EF4-FFF2-40B4-BE49-F238E27FC236}">
                    <a16:creationId xmlns:a16="http://schemas.microsoft.com/office/drawing/2014/main" id="{56688B9F-4243-5CE5-845C-42C41F7F93E2}"/>
                  </a:ext>
                </a:extLst>
              </p:cNvPr>
              <p:cNvPicPr/>
              <p:nvPr/>
            </p:nvPicPr>
            <p:blipFill>
              <a:blip r:embed="rId4"/>
              <a:stretch/>
            </p:blipFill>
            <p:spPr>
              <a:xfrm>
                <a:off x="1226797" y="2093182"/>
                <a:ext cx="588641" cy="623849"/>
              </a:xfrm>
              <a:prstGeom prst="rect">
                <a:avLst/>
              </a:prstGeom>
              <a:ln>
                <a:noFill/>
              </a:ln>
            </p:spPr>
          </p:pic>
          <p:pic>
            <p:nvPicPr>
              <p:cNvPr id="40" name="Picture 39">
                <a:extLst>
                  <a:ext uri="{FF2B5EF4-FFF2-40B4-BE49-F238E27FC236}">
                    <a16:creationId xmlns:a16="http://schemas.microsoft.com/office/drawing/2014/main" id="{DBDE8BBE-DD4C-C28D-9B80-CD195E996502}"/>
                  </a:ext>
                </a:extLst>
              </p:cNvPr>
              <p:cNvPicPr/>
              <p:nvPr/>
            </p:nvPicPr>
            <p:blipFill>
              <a:blip r:embed="rId4"/>
              <a:stretch/>
            </p:blipFill>
            <p:spPr>
              <a:xfrm>
                <a:off x="1820584" y="2093182"/>
                <a:ext cx="588641" cy="623849"/>
              </a:xfrm>
              <a:prstGeom prst="rect">
                <a:avLst/>
              </a:prstGeom>
              <a:ln>
                <a:noFill/>
              </a:ln>
            </p:spPr>
          </p:pic>
          <p:pic>
            <p:nvPicPr>
              <p:cNvPr id="41" name="Picture 40">
                <a:extLst>
                  <a:ext uri="{FF2B5EF4-FFF2-40B4-BE49-F238E27FC236}">
                    <a16:creationId xmlns:a16="http://schemas.microsoft.com/office/drawing/2014/main" id="{BDEC3773-F0E2-B74E-EFE0-F6FC660090B6}"/>
                  </a:ext>
                </a:extLst>
              </p:cNvPr>
              <p:cNvPicPr/>
              <p:nvPr/>
            </p:nvPicPr>
            <p:blipFill>
              <a:blip r:embed="rId4"/>
              <a:stretch/>
            </p:blipFill>
            <p:spPr>
              <a:xfrm>
                <a:off x="2409225" y="2093182"/>
                <a:ext cx="588641" cy="623849"/>
              </a:xfrm>
              <a:prstGeom prst="rect">
                <a:avLst/>
              </a:prstGeom>
              <a:ln>
                <a:noFill/>
              </a:ln>
            </p:spPr>
          </p:pic>
          <p:pic>
            <p:nvPicPr>
              <p:cNvPr id="42" name="Picture 41">
                <a:extLst>
                  <a:ext uri="{FF2B5EF4-FFF2-40B4-BE49-F238E27FC236}">
                    <a16:creationId xmlns:a16="http://schemas.microsoft.com/office/drawing/2014/main" id="{AC88B6FE-EC69-0D3B-F857-A9AD699266EC}"/>
                  </a:ext>
                </a:extLst>
              </p:cNvPr>
              <p:cNvPicPr/>
              <p:nvPr/>
            </p:nvPicPr>
            <p:blipFill>
              <a:blip r:embed="rId4"/>
              <a:stretch/>
            </p:blipFill>
            <p:spPr>
              <a:xfrm>
                <a:off x="2995434" y="2093182"/>
                <a:ext cx="588641" cy="623849"/>
              </a:xfrm>
              <a:prstGeom prst="rect">
                <a:avLst/>
              </a:prstGeom>
              <a:ln>
                <a:noFill/>
              </a:ln>
            </p:spPr>
          </p:pic>
          <p:pic>
            <p:nvPicPr>
              <p:cNvPr id="43" name="Picture 42">
                <a:extLst>
                  <a:ext uri="{FF2B5EF4-FFF2-40B4-BE49-F238E27FC236}">
                    <a16:creationId xmlns:a16="http://schemas.microsoft.com/office/drawing/2014/main" id="{58EF37FC-E22E-D395-4077-A0D3BF71E752}"/>
                  </a:ext>
                </a:extLst>
              </p:cNvPr>
              <p:cNvPicPr/>
              <p:nvPr/>
            </p:nvPicPr>
            <p:blipFill>
              <a:blip r:embed="rId4"/>
              <a:stretch/>
            </p:blipFill>
            <p:spPr>
              <a:xfrm>
                <a:off x="3586506" y="2093182"/>
                <a:ext cx="588641" cy="623849"/>
              </a:xfrm>
              <a:prstGeom prst="rect">
                <a:avLst/>
              </a:prstGeom>
              <a:ln>
                <a:noFill/>
              </a:ln>
            </p:spPr>
          </p:pic>
          <p:grpSp>
            <p:nvGrpSpPr>
              <p:cNvPr id="44" name="Group 2">
                <a:extLst>
                  <a:ext uri="{FF2B5EF4-FFF2-40B4-BE49-F238E27FC236}">
                    <a16:creationId xmlns:a16="http://schemas.microsoft.com/office/drawing/2014/main" id="{85C3B0A3-FE16-E700-BED9-F8594FE8F10D}"/>
                  </a:ext>
                </a:extLst>
              </p:cNvPr>
              <p:cNvGrpSpPr/>
              <p:nvPr/>
            </p:nvGrpSpPr>
            <p:grpSpPr>
              <a:xfrm>
                <a:off x="638157" y="2717031"/>
                <a:ext cx="3536990" cy="623849"/>
                <a:chOff x="640080" y="2657520"/>
                <a:chExt cx="1979280" cy="333360"/>
              </a:xfrm>
            </p:grpSpPr>
            <p:pic>
              <p:nvPicPr>
                <p:cNvPr id="59" name="Picture 58">
                  <a:extLst>
                    <a:ext uri="{FF2B5EF4-FFF2-40B4-BE49-F238E27FC236}">
                      <a16:creationId xmlns:a16="http://schemas.microsoft.com/office/drawing/2014/main" id="{CA95EC39-A007-CF0A-8084-F44BEB7F2973}"/>
                    </a:ext>
                  </a:extLst>
                </p:cNvPr>
                <p:cNvPicPr/>
                <p:nvPr/>
              </p:nvPicPr>
              <p:blipFill>
                <a:blip r:embed="rId4"/>
                <a:stretch/>
              </p:blipFill>
              <p:spPr>
                <a:xfrm>
                  <a:off x="640080" y="2657520"/>
                  <a:ext cx="329400" cy="333360"/>
                </a:xfrm>
                <a:prstGeom prst="rect">
                  <a:avLst/>
                </a:prstGeom>
                <a:ln>
                  <a:noFill/>
                </a:ln>
              </p:spPr>
            </p:pic>
            <p:pic>
              <p:nvPicPr>
                <p:cNvPr id="60" name="Picture 59">
                  <a:extLst>
                    <a:ext uri="{FF2B5EF4-FFF2-40B4-BE49-F238E27FC236}">
                      <a16:creationId xmlns:a16="http://schemas.microsoft.com/office/drawing/2014/main" id="{F84D8071-7F0A-A314-C790-C5449D1E8E86}"/>
                    </a:ext>
                  </a:extLst>
                </p:cNvPr>
                <p:cNvPicPr/>
                <p:nvPr/>
              </p:nvPicPr>
              <p:blipFill>
                <a:blip r:embed="rId4"/>
                <a:stretch/>
              </p:blipFill>
              <p:spPr>
                <a:xfrm>
                  <a:off x="969480" y="2657520"/>
                  <a:ext cx="329400" cy="333360"/>
                </a:xfrm>
                <a:prstGeom prst="rect">
                  <a:avLst/>
                </a:prstGeom>
                <a:ln>
                  <a:noFill/>
                </a:ln>
              </p:spPr>
            </p:pic>
            <p:pic>
              <p:nvPicPr>
                <p:cNvPr id="61" name="Picture 60">
                  <a:extLst>
                    <a:ext uri="{FF2B5EF4-FFF2-40B4-BE49-F238E27FC236}">
                      <a16:creationId xmlns:a16="http://schemas.microsoft.com/office/drawing/2014/main" id="{D77119A0-579D-8C71-156B-CAC9FC2A42BE}"/>
                    </a:ext>
                  </a:extLst>
                </p:cNvPr>
                <p:cNvPicPr/>
                <p:nvPr/>
              </p:nvPicPr>
              <p:blipFill>
                <a:blip r:embed="rId4"/>
                <a:stretch/>
              </p:blipFill>
              <p:spPr>
                <a:xfrm>
                  <a:off x="1301760" y="2657520"/>
                  <a:ext cx="329400" cy="333360"/>
                </a:xfrm>
                <a:prstGeom prst="rect">
                  <a:avLst/>
                </a:prstGeom>
                <a:ln>
                  <a:noFill/>
                </a:ln>
              </p:spPr>
            </p:pic>
            <p:pic>
              <p:nvPicPr>
                <p:cNvPr id="62" name="Picture 61">
                  <a:extLst>
                    <a:ext uri="{FF2B5EF4-FFF2-40B4-BE49-F238E27FC236}">
                      <a16:creationId xmlns:a16="http://schemas.microsoft.com/office/drawing/2014/main" id="{0532EB22-E7B0-6D5A-D62F-5098F6751BB2}"/>
                    </a:ext>
                  </a:extLst>
                </p:cNvPr>
                <p:cNvPicPr/>
                <p:nvPr/>
              </p:nvPicPr>
              <p:blipFill>
                <a:blip r:embed="rId4"/>
                <a:stretch/>
              </p:blipFill>
              <p:spPr>
                <a:xfrm>
                  <a:off x="1631160" y="2657520"/>
                  <a:ext cx="329400" cy="333360"/>
                </a:xfrm>
                <a:prstGeom prst="rect">
                  <a:avLst/>
                </a:prstGeom>
                <a:ln>
                  <a:noFill/>
                </a:ln>
              </p:spPr>
            </p:pic>
            <p:pic>
              <p:nvPicPr>
                <p:cNvPr id="63" name="Picture 62">
                  <a:extLst>
                    <a:ext uri="{FF2B5EF4-FFF2-40B4-BE49-F238E27FC236}">
                      <a16:creationId xmlns:a16="http://schemas.microsoft.com/office/drawing/2014/main" id="{0ABEC399-EB01-5F94-FDF2-5B3798DA41C5}"/>
                    </a:ext>
                  </a:extLst>
                </p:cNvPr>
                <p:cNvPicPr/>
                <p:nvPr/>
              </p:nvPicPr>
              <p:blipFill>
                <a:blip r:embed="rId4"/>
                <a:stretch/>
              </p:blipFill>
              <p:spPr>
                <a:xfrm>
                  <a:off x="1960560" y="2657520"/>
                  <a:ext cx="329400" cy="333360"/>
                </a:xfrm>
                <a:prstGeom prst="rect">
                  <a:avLst/>
                </a:prstGeom>
                <a:ln>
                  <a:noFill/>
                </a:ln>
              </p:spPr>
            </p:pic>
            <p:pic>
              <p:nvPicPr>
                <p:cNvPr id="64" name="Picture 63">
                  <a:extLst>
                    <a:ext uri="{FF2B5EF4-FFF2-40B4-BE49-F238E27FC236}">
                      <a16:creationId xmlns:a16="http://schemas.microsoft.com/office/drawing/2014/main" id="{F44D873A-811F-74CE-54BF-27FA43196E24}"/>
                    </a:ext>
                  </a:extLst>
                </p:cNvPr>
                <p:cNvPicPr/>
                <p:nvPr/>
              </p:nvPicPr>
              <p:blipFill>
                <a:blip r:embed="rId4"/>
                <a:stretch/>
              </p:blipFill>
              <p:spPr>
                <a:xfrm>
                  <a:off x="2289960" y="2657520"/>
                  <a:ext cx="329400" cy="333360"/>
                </a:xfrm>
                <a:prstGeom prst="rect">
                  <a:avLst/>
                </a:prstGeom>
                <a:ln>
                  <a:noFill/>
                </a:ln>
              </p:spPr>
            </p:pic>
          </p:grpSp>
          <p:grpSp>
            <p:nvGrpSpPr>
              <p:cNvPr id="45" name="Group 3">
                <a:extLst>
                  <a:ext uri="{FF2B5EF4-FFF2-40B4-BE49-F238E27FC236}">
                    <a16:creationId xmlns:a16="http://schemas.microsoft.com/office/drawing/2014/main" id="{C289909B-4622-60C5-EAD6-B372809929E4}"/>
                  </a:ext>
                </a:extLst>
              </p:cNvPr>
              <p:cNvGrpSpPr/>
              <p:nvPr/>
            </p:nvGrpSpPr>
            <p:grpSpPr>
              <a:xfrm>
                <a:off x="638157" y="3340880"/>
                <a:ext cx="3536990" cy="623849"/>
                <a:chOff x="640080" y="2990880"/>
                <a:chExt cx="1979280" cy="333360"/>
              </a:xfrm>
            </p:grpSpPr>
            <p:pic>
              <p:nvPicPr>
                <p:cNvPr id="53" name="Picture 52">
                  <a:extLst>
                    <a:ext uri="{FF2B5EF4-FFF2-40B4-BE49-F238E27FC236}">
                      <a16:creationId xmlns:a16="http://schemas.microsoft.com/office/drawing/2014/main" id="{B63DFAFA-D4FF-E481-F09B-7E078463D5F1}"/>
                    </a:ext>
                  </a:extLst>
                </p:cNvPr>
                <p:cNvPicPr/>
                <p:nvPr/>
              </p:nvPicPr>
              <p:blipFill>
                <a:blip r:embed="rId4"/>
                <a:stretch/>
              </p:blipFill>
              <p:spPr>
                <a:xfrm>
                  <a:off x="640080" y="2990880"/>
                  <a:ext cx="329400" cy="333360"/>
                </a:xfrm>
                <a:prstGeom prst="rect">
                  <a:avLst/>
                </a:prstGeom>
                <a:ln>
                  <a:noFill/>
                </a:ln>
              </p:spPr>
            </p:pic>
            <p:pic>
              <p:nvPicPr>
                <p:cNvPr id="54" name="Picture 53">
                  <a:extLst>
                    <a:ext uri="{FF2B5EF4-FFF2-40B4-BE49-F238E27FC236}">
                      <a16:creationId xmlns:a16="http://schemas.microsoft.com/office/drawing/2014/main" id="{7858A4F3-077C-5986-8E85-F053A57BA995}"/>
                    </a:ext>
                  </a:extLst>
                </p:cNvPr>
                <p:cNvPicPr/>
                <p:nvPr/>
              </p:nvPicPr>
              <p:blipFill>
                <a:blip r:embed="rId4"/>
                <a:stretch/>
              </p:blipFill>
              <p:spPr>
                <a:xfrm>
                  <a:off x="969480" y="2990880"/>
                  <a:ext cx="329400" cy="333360"/>
                </a:xfrm>
                <a:prstGeom prst="rect">
                  <a:avLst/>
                </a:prstGeom>
                <a:ln>
                  <a:noFill/>
                </a:ln>
              </p:spPr>
            </p:pic>
            <p:pic>
              <p:nvPicPr>
                <p:cNvPr id="55" name="Picture 54">
                  <a:extLst>
                    <a:ext uri="{FF2B5EF4-FFF2-40B4-BE49-F238E27FC236}">
                      <a16:creationId xmlns:a16="http://schemas.microsoft.com/office/drawing/2014/main" id="{517B0380-B7E7-8E4B-79EA-1D7A8C3994C3}"/>
                    </a:ext>
                  </a:extLst>
                </p:cNvPr>
                <p:cNvPicPr/>
                <p:nvPr/>
              </p:nvPicPr>
              <p:blipFill>
                <a:blip r:embed="rId4"/>
                <a:stretch/>
              </p:blipFill>
              <p:spPr>
                <a:xfrm>
                  <a:off x="1301760" y="2990880"/>
                  <a:ext cx="329400" cy="333360"/>
                </a:xfrm>
                <a:prstGeom prst="rect">
                  <a:avLst/>
                </a:prstGeom>
                <a:ln>
                  <a:noFill/>
                </a:ln>
              </p:spPr>
            </p:pic>
            <p:pic>
              <p:nvPicPr>
                <p:cNvPr id="56" name="Picture 55">
                  <a:extLst>
                    <a:ext uri="{FF2B5EF4-FFF2-40B4-BE49-F238E27FC236}">
                      <a16:creationId xmlns:a16="http://schemas.microsoft.com/office/drawing/2014/main" id="{3F00EBD9-FE88-993D-DD55-0CA06BA51BA6}"/>
                    </a:ext>
                  </a:extLst>
                </p:cNvPr>
                <p:cNvPicPr/>
                <p:nvPr/>
              </p:nvPicPr>
              <p:blipFill>
                <a:blip r:embed="rId4"/>
                <a:stretch/>
              </p:blipFill>
              <p:spPr>
                <a:xfrm>
                  <a:off x="1631160" y="2990880"/>
                  <a:ext cx="329400" cy="333360"/>
                </a:xfrm>
                <a:prstGeom prst="rect">
                  <a:avLst/>
                </a:prstGeom>
                <a:ln>
                  <a:noFill/>
                </a:ln>
              </p:spPr>
            </p:pic>
            <p:pic>
              <p:nvPicPr>
                <p:cNvPr id="57" name="Picture 56">
                  <a:extLst>
                    <a:ext uri="{FF2B5EF4-FFF2-40B4-BE49-F238E27FC236}">
                      <a16:creationId xmlns:a16="http://schemas.microsoft.com/office/drawing/2014/main" id="{2029136C-BBA8-DB2A-FB76-F5944E31D208}"/>
                    </a:ext>
                  </a:extLst>
                </p:cNvPr>
                <p:cNvPicPr/>
                <p:nvPr/>
              </p:nvPicPr>
              <p:blipFill>
                <a:blip r:embed="rId4"/>
                <a:stretch/>
              </p:blipFill>
              <p:spPr>
                <a:xfrm>
                  <a:off x="1960560" y="2990880"/>
                  <a:ext cx="329400" cy="333360"/>
                </a:xfrm>
                <a:prstGeom prst="rect">
                  <a:avLst/>
                </a:prstGeom>
                <a:ln>
                  <a:noFill/>
                </a:ln>
              </p:spPr>
            </p:pic>
            <p:pic>
              <p:nvPicPr>
                <p:cNvPr id="58" name="Picture 57">
                  <a:extLst>
                    <a:ext uri="{FF2B5EF4-FFF2-40B4-BE49-F238E27FC236}">
                      <a16:creationId xmlns:a16="http://schemas.microsoft.com/office/drawing/2014/main" id="{E811AB43-BD0B-8E4F-D1DC-20D194840EEB}"/>
                    </a:ext>
                  </a:extLst>
                </p:cNvPr>
                <p:cNvPicPr/>
                <p:nvPr/>
              </p:nvPicPr>
              <p:blipFill>
                <a:blip r:embed="rId4"/>
                <a:stretch/>
              </p:blipFill>
              <p:spPr>
                <a:xfrm>
                  <a:off x="2289960" y="2990880"/>
                  <a:ext cx="329400" cy="333360"/>
                </a:xfrm>
                <a:prstGeom prst="rect">
                  <a:avLst/>
                </a:prstGeom>
                <a:ln>
                  <a:noFill/>
                </a:ln>
              </p:spPr>
            </p:pic>
          </p:grpSp>
          <p:grpSp>
            <p:nvGrpSpPr>
              <p:cNvPr id="46" name="Group 4">
                <a:extLst>
                  <a:ext uri="{FF2B5EF4-FFF2-40B4-BE49-F238E27FC236}">
                    <a16:creationId xmlns:a16="http://schemas.microsoft.com/office/drawing/2014/main" id="{13BA7672-0A0A-10D2-E59D-7CCFA5ACB8BC}"/>
                  </a:ext>
                </a:extLst>
              </p:cNvPr>
              <p:cNvGrpSpPr/>
              <p:nvPr/>
            </p:nvGrpSpPr>
            <p:grpSpPr>
              <a:xfrm>
                <a:off x="638157" y="3964728"/>
                <a:ext cx="3536990" cy="623849"/>
                <a:chOff x="640080" y="3324240"/>
                <a:chExt cx="1979280" cy="333360"/>
              </a:xfrm>
            </p:grpSpPr>
            <p:pic>
              <p:nvPicPr>
                <p:cNvPr id="47" name="Picture 46">
                  <a:extLst>
                    <a:ext uri="{FF2B5EF4-FFF2-40B4-BE49-F238E27FC236}">
                      <a16:creationId xmlns:a16="http://schemas.microsoft.com/office/drawing/2014/main" id="{A2B0E54A-F206-51AE-A6AD-017ADABD7D67}"/>
                    </a:ext>
                  </a:extLst>
                </p:cNvPr>
                <p:cNvPicPr/>
                <p:nvPr/>
              </p:nvPicPr>
              <p:blipFill>
                <a:blip r:embed="rId4"/>
                <a:stretch/>
              </p:blipFill>
              <p:spPr>
                <a:xfrm>
                  <a:off x="640080" y="3324240"/>
                  <a:ext cx="329400" cy="333360"/>
                </a:xfrm>
                <a:prstGeom prst="rect">
                  <a:avLst/>
                </a:prstGeom>
                <a:ln>
                  <a:noFill/>
                </a:ln>
              </p:spPr>
            </p:pic>
            <p:pic>
              <p:nvPicPr>
                <p:cNvPr id="48" name="Picture 47">
                  <a:extLst>
                    <a:ext uri="{FF2B5EF4-FFF2-40B4-BE49-F238E27FC236}">
                      <a16:creationId xmlns:a16="http://schemas.microsoft.com/office/drawing/2014/main" id="{07E28D7C-C5B6-4E3B-4D8C-C9AF29CDD4F1}"/>
                    </a:ext>
                  </a:extLst>
                </p:cNvPr>
                <p:cNvPicPr/>
                <p:nvPr/>
              </p:nvPicPr>
              <p:blipFill>
                <a:blip r:embed="rId4"/>
                <a:stretch/>
              </p:blipFill>
              <p:spPr>
                <a:xfrm>
                  <a:off x="969480" y="3324240"/>
                  <a:ext cx="329400" cy="333360"/>
                </a:xfrm>
                <a:prstGeom prst="rect">
                  <a:avLst/>
                </a:prstGeom>
                <a:ln>
                  <a:noFill/>
                </a:ln>
              </p:spPr>
            </p:pic>
            <p:pic>
              <p:nvPicPr>
                <p:cNvPr id="49" name="Picture 48">
                  <a:extLst>
                    <a:ext uri="{FF2B5EF4-FFF2-40B4-BE49-F238E27FC236}">
                      <a16:creationId xmlns:a16="http://schemas.microsoft.com/office/drawing/2014/main" id="{B8F7E2D2-620A-67B7-0A92-38638CEA8D78}"/>
                    </a:ext>
                  </a:extLst>
                </p:cNvPr>
                <p:cNvPicPr/>
                <p:nvPr/>
              </p:nvPicPr>
              <p:blipFill>
                <a:blip r:embed="rId4"/>
                <a:stretch/>
              </p:blipFill>
              <p:spPr>
                <a:xfrm>
                  <a:off x="1301760" y="3324240"/>
                  <a:ext cx="329400" cy="333360"/>
                </a:xfrm>
                <a:prstGeom prst="rect">
                  <a:avLst/>
                </a:prstGeom>
                <a:ln>
                  <a:noFill/>
                </a:ln>
              </p:spPr>
            </p:pic>
            <p:pic>
              <p:nvPicPr>
                <p:cNvPr id="50" name="Picture 49">
                  <a:extLst>
                    <a:ext uri="{FF2B5EF4-FFF2-40B4-BE49-F238E27FC236}">
                      <a16:creationId xmlns:a16="http://schemas.microsoft.com/office/drawing/2014/main" id="{3EA343A5-8CA3-0915-2AC3-AFADE6382F09}"/>
                    </a:ext>
                  </a:extLst>
                </p:cNvPr>
                <p:cNvPicPr/>
                <p:nvPr/>
              </p:nvPicPr>
              <p:blipFill>
                <a:blip r:embed="rId4"/>
                <a:stretch/>
              </p:blipFill>
              <p:spPr>
                <a:xfrm>
                  <a:off x="1631160" y="3324240"/>
                  <a:ext cx="329400" cy="333360"/>
                </a:xfrm>
                <a:prstGeom prst="rect">
                  <a:avLst/>
                </a:prstGeom>
                <a:ln>
                  <a:noFill/>
                </a:ln>
              </p:spPr>
            </p:pic>
            <p:pic>
              <p:nvPicPr>
                <p:cNvPr id="51" name="Picture 50">
                  <a:extLst>
                    <a:ext uri="{FF2B5EF4-FFF2-40B4-BE49-F238E27FC236}">
                      <a16:creationId xmlns:a16="http://schemas.microsoft.com/office/drawing/2014/main" id="{9EA88F00-C2BC-0185-3630-A7038B8B0F23}"/>
                    </a:ext>
                  </a:extLst>
                </p:cNvPr>
                <p:cNvPicPr/>
                <p:nvPr/>
              </p:nvPicPr>
              <p:blipFill>
                <a:blip r:embed="rId4"/>
                <a:stretch/>
              </p:blipFill>
              <p:spPr>
                <a:xfrm>
                  <a:off x="1960560" y="3324240"/>
                  <a:ext cx="329400" cy="333360"/>
                </a:xfrm>
                <a:prstGeom prst="rect">
                  <a:avLst/>
                </a:prstGeom>
                <a:ln>
                  <a:noFill/>
                </a:ln>
              </p:spPr>
            </p:pic>
            <p:pic>
              <p:nvPicPr>
                <p:cNvPr id="52" name="Picture 51">
                  <a:extLst>
                    <a:ext uri="{FF2B5EF4-FFF2-40B4-BE49-F238E27FC236}">
                      <a16:creationId xmlns:a16="http://schemas.microsoft.com/office/drawing/2014/main" id="{69FC69E6-BE7A-0F6E-8DA5-E1236B215DBD}"/>
                    </a:ext>
                  </a:extLst>
                </p:cNvPr>
                <p:cNvPicPr/>
                <p:nvPr/>
              </p:nvPicPr>
              <p:blipFill>
                <a:blip r:embed="rId4"/>
                <a:stretch/>
              </p:blipFill>
              <p:spPr>
                <a:xfrm>
                  <a:off x="2289960" y="3324240"/>
                  <a:ext cx="329400" cy="333360"/>
                </a:xfrm>
                <a:prstGeom prst="rect">
                  <a:avLst/>
                </a:prstGeom>
                <a:ln>
                  <a:noFill/>
                </a:ln>
              </p:spPr>
            </p:pic>
          </p:grpSp>
        </p:grp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4B015A4B-15CB-FED3-FEDC-2C2ED16C3F16}"/>
                </a:ext>
              </a:extLst>
            </p:cNvPr>
            <p:cNvSpPr/>
            <p:nvPr/>
          </p:nvSpPr>
          <p:spPr>
            <a:xfrm>
              <a:off x="822660" y="1907127"/>
              <a:ext cx="3537069" cy="2497427"/>
            </a:xfrm>
            <a:prstGeom prst="rect">
              <a:avLst/>
            </a:prstGeom>
            <a:noFill/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5" name="CustomShape 1">
            <a:extLst>
              <a:ext uri="{FF2B5EF4-FFF2-40B4-BE49-F238E27FC236}">
                <a16:creationId xmlns:a16="http://schemas.microsoft.com/office/drawing/2014/main" id="{F0B916AE-EE85-ED4D-581A-520161781760}"/>
              </a:ext>
            </a:extLst>
          </p:cNvPr>
          <p:cNvSpPr/>
          <p:nvPr/>
        </p:nvSpPr>
        <p:spPr>
          <a:xfrm>
            <a:off x="511977" y="237965"/>
            <a:ext cx="8170920" cy="106488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>
            <a:noAutofit/>
          </a:bodyPr>
          <a:lstStyle/>
          <a:p>
            <a:pPr>
              <a:lnSpc>
                <a:spcPts val="3200"/>
              </a:lnSpc>
            </a:pPr>
            <a:r>
              <a:rPr lang="en-US" sz="2800" b="0" strike="noStrike" spc="-1" dirty="0">
                <a:solidFill>
                  <a:srgbClr val="AB3348"/>
                </a:solidFill>
                <a:latin typeface="Times New Roman"/>
                <a:ea typeface="DejaVu Sans"/>
              </a:rPr>
              <a:t>CNN</a:t>
            </a:r>
            <a:r>
              <a:rPr lang="tr-TR" sz="2800" b="0" strike="noStrike" spc="-1" dirty="0">
                <a:solidFill>
                  <a:srgbClr val="AB3348"/>
                </a:solidFill>
                <a:latin typeface="Times New Roman"/>
                <a:ea typeface="DejaVu Sans"/>
              </a:rPr>
              <a:t> - Construction</a:t>
            </a:r>
            <a:endParaRPr lang="en-US" sz="2800" b="0" strike="noStrike" spc="-1" dirty="0">
              <a:latin typeface="Arial"/>
            </a:endParaRPr>
          </a:p>
        </p:txBody>
      </p:sp>
      <p:pic>
        <p:nvPicPr>
          <p:cNvPr id="66" name="Picture 65">
            <a:extLst>
              <a:ext uri="{FF2B5EF4-FFF2-40B4-BE49-F238E27FC236}">
                <a16:creationId xmlns:a16="http://schemas.microsoft.com/office/drawing/2014/main" id="{9052DFFC-3704-0670-07CA-35E8C0DDB1A0}"/>
              </a:ext>
            </a:extLst>
          </p:cNvPr>
          <p:cNvPicPr/>
          <p:nvPr/>
        </p:nvPicPr>
        <p:blipFill>
          <a:blip r:embed="rId4">
            <a:duotone>
              <a:schemeClr val="accent3">
                <a:shade val="45000"/>
                <a:satMod val="135000"/>
              </a:schemeClr>
              <a:prstClr val="white"/>
            </a:duotone>
          </a:blip>
          <a:stretch/>
        </p:blipFill>
        <p:spPr>
          <a:xfrm>
            <a:off x="2362843" y="1907127"/>
            <a:ext cx="588641" cy="623849"/>
          </a:xfrm>
          <a:prstGeom prst="rect">
            <a:avLst/>
          </a:prstGeom>
          <a:ln>
            <a:noFill/>
          </a:ln>
        </p:spPr>
      </p:pic>
      <p:pic>
        <p:nvPicPr>
          <p:cNvPr id="67" name="Picture 66">
            <a:extLst>
              <a:ext uri="{FF2B5EF4-FFF2-40B4-BE49-F238E27FC236}">
                <a16:creationId xmlns:a16="http://schemas.microsoft.com/office/drawing/2014/main" id="{4A3CFE19-D8D2-B403-147C-37F7250BD63D}"/>
              </a:ext>
            </a:extLst>
          </p:cNvPr>
          <p:cNvPicPr/>
          <p:nvPr/>
        </p:nvPicPr>
        <p:blipFill rotWithShape="1">
          <a:blip r:embed="rId4">
            <a:duotone>
              <a:schemeClr val="accent3">
                <a:shade val="45000"/>
                <a:satMod val="135000"/>
              </a:schemeClr>
              <a:prstClr val="white"/>
            </a:duotone>
          </a:blip>
          <a:srcRect l="79416" b="80079"/>
          <a:stretch/>
        </p:blipFill>
        <p:spPr>
          <a:xfrm>
            <a:off x="6566645" y="2220524"/>
            <a:ext cx="121168" cy="124278"/>
          </a:xfrm>
          <a:prstGeom prst="rect">
            <a:avLst/>
          </a:prstGeom>
          <a:ln>
            <a:noFill/>
          </a:ln>
        </p:spPr>
      </p:pic>
      <p:pic>
        <p:nvPicPr>
          <p:cNvPr id="68" name="Picture 67">
            <a:extLst>
              <a:ext uri="{FF2B5EF4-FFF2-40B4-BE49-F238E27FC236}">
                <a16:creationId xmlns:a16="http://schemas.microsoft.com/office/drawing/2014/main" id="{E593F32F-5893-308D-0EC8-4B04F36572A9}"/>
              </a:ext>
            </a:extLst>
          </p:cNvPr>
          <p:cNvPicPr/>
          <p:nvPr/>
        </p:nvPicPr>
        <p:blipFill rotWithShape="1">
          <a:blip r:embed="rId4">
            <a:duotone>
              <a:schemeClr val="accent2">
                <a:shade val="45000"/>
                <a:satMod val="135000"/>
              </a:schemeClr>
              <a:prstClr val="white"/>
            </a:duotone>
          </a:blip>
          <a:srcRect l="79416" b="80079"/>
          <a:stretch/>
        </p:blipFill>
        <p:spPr>
          <a:xfrm>
            <a:off x="6687813" y="2220524"/>
            <a:ext cx="121168" cy="124278"/>
          </a:xfrm>
          <a:prstGeom prst="rect">
            <a:avLst/>
          </a:prstGeom>
          <a:ln>
            <a:noFill/>
          </a:ln>
        </p:spPr>
      </p:pic>
      <p:pic>
        <p:nvPicPr>
          <p:cNvPr id="69" name="Picture 68">
            <a:extLst>
              <a:ext uri="{FF2B5EF4-FFF2-40B4-BE49-F238E27FC236}">
                <a16:creationId xmlns:a16="http://schemas.microsoft.com/office/drawing/2014/main" id="{DE743D67-455A-2CBF-6C97-3F6D840B5992}"/>
              </a:ext>
            </a:extLst>
          </p:cNvPr>
          <p:cNvPicPr/>
          <p:nvPr/>
        </p:nvPicPr>
        <p:blipFill rotWithShape="1">
          <a:blip r:embed="rId4">
            <a:biLevel thresh="25000"/>
          </a:blip>
          <a:srcRect l="79416" b="80079"/>
          <a:stretch/>
        </p:blipFill>
        <p:spPr>
          <a:xfrm>
            <a:off x="6802954" y="2219051"/>
            <a:ext cx="121168" cy="124278"/>
          </a:xfrm>
          <a:prstGeom prst="rect">
            <a:avLst/>
          </a:prstGeom>
          <a:ln>
            <a:noFill/>
          </a:ln>
        </p:spPr>
      </p:pic>
      <p:sp>
        <p:nvSpPr>
          <p:cNvPr id="70" name="CustomShape 21">
            <a:extLst>
              <a:ext uri="{FF2B5EF4-FFF2-40B4-BE49-F238E27FC236}">
                <a16:creationId xmlns:a16="http://schemas.microsoft.com/office/drawing/2014/main" id="{97B973D9-B6CD-4E1F-79CE-74C2DD1D4BF3}"/>
              </a:ext>
            </a:extLst>
          </p:cNvPr>
          <p:cNvSpPr/>
          <p:nvPr/>
        </p:nvSpPr>
        <p:spPr>
          <a:xfrm>
            <a:off x="3165489" y="4444236"/>
            <a:ext cx="1767897" cy="33710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1600" b="1" spc="-1" dirty="0">
                <a:solidFill>
                  <a:srgbClr val="08411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</a:t>
            </a:r>
            <a:r>
              <a:rPr lang="en-US" sz="1600" b="1" strike="noStrike" spc="-1" dirty="0">
                <a:solidFill>
                  <a:srgbClr val="08411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ride length</a:t>
            </a:r>
            <a:r>
              <a:rPr lang="en-US" sz="1600" strike="noStrike" spc="-1" dirty="0">
                <a:solidFill>
                  <a:srgbClr val="08411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spc="-1" dirty="0">
                <a:solidFill>
                  <a:srgbClr val="08411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US" sz="1600" strike="noStrike" spc="-1" dirty="0">
                <a:solidFill>
                  <a:srgbClr val="08411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ne)</a:t>
            </a:r>
          </a:p>
        </p:txBody>
      </p:sp>
      <p:sp>
        <p:nvSpPr>
          <p:cNvPr id="71" name="CustomShape 21">
            <a:extLst>
              <a:ext uri="{FF2B5EF4-FFF2-40B4-BE49-F238E27FC236}">
                <a16:creationId xmlns:a16="http://schemas.microsoft.com/office/drawing/2014/main" id="{2B1AE03A-EE43-3B25-A35C-9189C088DD97}"/>
              </a:ext>
            </a:extLst>
          </p:cNvPr>
          <p:cNvSpPr/>
          <p:nvPr/>
        </p:nvSpPr>
        <p:spPr>
          <a:xfrm>
            <a:off x="1956708" y="1078686"/>
            <a:ext cx="2465140" cy="33710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1600" b="1" spc="-1" dirty="0">
                <a:solidFill>
                  <a:srgbClr val="08411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ocal receptive fields (</a:t>
            </a:r>
            <a:r>
              <a:rPr lang="en-US" sz="1600" spc="-1" dirty="0">
                <a:solidFill>
                  <a:srgbClr val="08411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</a:t>
            </a:r>
            <a:r>
              <a:rPr lang="en-US" sz="1600" spc="-1" dirty="0">
                <a:solidFill>
                  <a:srgbClr val="084112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Symbol" panose="05050102010706020507" pitchFamily="18" charset="2"/>
              </a:rPr>
              <a:t></a:t>
            </a:r>
            <a:r>
              <a:rPr lang="en-US" sz="1600" spc="-1" dirty="0">
                <a:solidFill>
                  <a:srgbClr val="08411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)</a:t>
            </a:r>
            <a:endParaRPr lang="en-US" sz="1600" strike="noStrike" spc="-1" dirty="0">
              <a:solidFill>
                <a:srgbClr val="08411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72" name="Straight Arrow Connector 71">
            <a:extLst>
              <a:ext uri="{FF2B5EF4-FFF2-40B4-BE49-F238E27FC236}">
                <a16:creationId xmlns:a16="http://schemas.microsoft.com/office/drawing/2014/main" id="{ADDFDC9A-32E3-7926-5C4E-F628EE1F40A2}"/>
              </a:ext>
            </a:extLst>
          </p:cNvPr>
          <p:cNvCxnSpPr>
            <a:stCxn id="71" idx="2"/>
          </p:cNvCxnSpPr>
          <p:nvPr/>
        </p:nvCxnSpPr>
        <p:spPr>
          <a:xfrm flipH="1">
            <a:off x="2495108" y="1415786"/>
            <a:ext cx="694170" cy="378986"/>
          </a:xfrm>
          <a:prstGeom prst="straightConnector1">
            <a:avLst/>
          </a:prstGeom>
          <a:noFill/>
          <a:ln>
            <a:solidFill>
              <a:srgbClr val="084112"/>
            </a:solidFill>
            <a:prstDash val="sysDash"/>
            <a:round/>
            <a:tailEnd type="triangle" w="med" len="med"/>
          </a:ln>
          <a:effectLst>
            <a:outerShdw blurRad="40000" dist="20160" dir="5400000" rotWithShape="0">
              <a:srgbClr val="000000">
                <a:alpha val="3800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/>
        </p:style>
      </p:cxnSp>
      <p:cxnSp>
        <p:nvCxnSpPr>
          <p:cNvPr id="73" name="Straight Arrow Connector 72">
            <a:extLst>
              <a:ext uri="{FF2B5EF4-FFF2-40B4-BE49-F238E27FC236}">
                <a16:creationId xmlns:a16="http://schemas.microsoft.com/office/drawing/2014/main" id="{79A54C2D-3C5A-ED7C-CD81-D45C838AE90E}"/>
              </a:ext>
            </a:extLst>
          </p:cNvPr>
          <p:cNvCxnSpPr>
            <a:cxnSpLocks/>
            <a:stCxn id="71" idx="2"/>
          </p:cNvCxnSpPr>
          <p:nvPr/>
        </p:nvCxnSpPr>
        <p:spPr>
          <a:xfrm flipH="1">
            <a:off x="2714964" y="1415786"/>
            <a:ext cx="474314" cy="420053"/>
          </a:xfrm>
          <a:prstGeom prst="straightConnector1">
            <a:avLst/>
          </a:prstGeom>
          <a:noFill/>
          <a:ln>
            <a:solidFill>
              <a:srgbClr val="084112"/>
            </a:solidFill>
            <a:prstDash val="sysDash"/>
            <a:round/>
            <a:tailEnd type="triangle" w="med" len="med"/>
          </a:ln>
          <a:effectLst>
            <a:outerShdw blurRad="40000" dist="20160" dir="5400000" rotWithShape="0">
              <a:srgbClr val="000000">
                <a:alpha val="3800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/>
        </p:style>
      </p:cxnSp>
      <p:cxnSp>
        <p:nvCxnSpPr>
          <p:cNvPr id="74" name="Straight Arrow Connector 73">
            <a:extLst>
              <a:ext uri="{FF2B5EF4-FFF2-40B4-BE49-F238E27FC236}">
                <a16:creationId xmlns:a16="http://schemas.microsoft.com/office/drawing/2014/main" id="{3803CFEB-FF16-2959-E321-263146C69240}"/>
              </a:ext>
            </a:extLst>
          </p:cNvPr>
          <p:cNvCxnSpPr>
            <a:cxnSpLocks/>
            <a:stCxn id="71" idx="2"/>
          </p:cNvCxnSpPr>
          <p:nvPr/>
        </p:nvCxnSpPr>
        <p:spPr>
          <a:xfrm flipH="1">
            <a:off x="2964308" y="1415786"/>
            <a:ext cx="224970" cy="399519"/>
          </a:xfrm>
          <a:prstGeom prst="straightConnector1">
            <a:avLst/>
          </a:prstGeom>
          <a:noFill/>
          <a:ln>
            <a:solidFill>
              <a:srgbClr val="084112"/>
            </a:solidFill>
            <a:prstDash val="sysDash"/>
            <a:round/>
            <a:tailEnd type="triangle" w="med" len="med"/>
          </a:ln>
          <a:effectLst>
            <a:outerShdw blurRad="40000" dist="20160" dir="5400000" rotWithShape="0">
              <a:srgbClr val="000000">
                <a:alpha val="3800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/>
        </p:style>
      </p:cxnSp>
      <p:sp>
        <p:nvSpPr>
          <p:cNvPr id="75" name="CustomShape 21">
            <a:extLst>
              <a:ext uri="{FF2B5EF4-FFF2-40B4-BE49-F238E27FC236}">
                <a16:creationId xmlns:a16="http://schemas.microsoft.com/office/drawing/2014/main" id="{E525CE12-F7A9-27B0-45DA-1653C6366DB1}"/>
              </a:ext>
            </a:extLst>
          </p:cNvPr>
          <p:cNvSpPr/>
          <p:nvPr/>
        </p:nvSpPr>
        <p:spPr>
          <a:xfrm>
            <a:off x="2362843" y="4868328"/>
            <a:ext cx="3662254" cy="367878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square" lIns="90000" tIns="45000" rIns="90000" bIns="4500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pc="-1" dirty="0">
                <a:latin typeface="Times New Roman" panose="02020603050405020304" pitchFamily="18" charset="0"/>
                <a:cs typeface="Times New Roman" panose="02020603050405020304" pitchFamily="18" charset="0"/>
              </a:rPr>
              <a:t>input: 20 </a:t>
            </a:r>
            <a:r>
              <a:rPr lang="en-US" spc="-1" dirty="0">
                <a:latin typeface="Times New Roman" panose="02020603050405020304" pitchFamily="18" charset="0"/>
                <a:cs typeface="Times New Roman" panose="02020603050405020304" pitchFamily="18" charset="0"/>
                <a:sym typeface="Symbol" panose="05050102010706020507" pitchFamily="18" charset="2"/>
              </a:rPr>
              <a:t></a:t>
            </a:r>
            <a:r>
              <a:rPr lang="en-US" spc="-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30 </a:t>
            </a:r>
            <a:r>
              <a:rPr lang="en-US" strike="noStrike" spc="-1" dirty="0">
                <a:latin typeface="Times New Roman" panose="02020603050405020304" pitchFamily="18" charset="0"/>
                <a:cs typeface="Times New Roman" panose="02020603050405020304" pitchFamily="18" charset="0"/>
              </a:rPr>
              <a:t>neurons</a:t>
            </a:r>
          </a:p>
        </p:txBody>
      </p:sp>
      <p:sp>
        <p:nvSpPr>
          <p:cNvPr id="76" name="CustomShape 21">
            <a:extLst>
              <a:ext uri="{FF2B5EF4-FFF2-40B4-BE49-F238E27FC236}">
                <a16:creationId xmlns:a16="http://schemas.microsoft.com/office/drawing/2014/main" id="{98E634C9-8A96-4927-C327-135029B95467}"/>
              </a:ext>
            </a:extLst>
          </p:cNvPr>
          <p:cNvSpPr/>
          <p:nvPr/>
        </p:nvSpPr>
        <p:spPr>
          <a:xfrm>
            <a:off x="7471037" y="4868328"/>
            <a:ext cx="1672229" cy="367878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pc="-1" dirty="0">
                <a:solidFill>
                  <a:srgbClr val="08411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6 </a:t>
            </a:r>
            <a:r>
              <a:rPr lang="en-US" spc="-1" dirty="0">
                <a:solidFill>
                  <a:srgbClr val="084112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Symbol" panose="05050102010706020507" pitchFamily="18" charset="2"/>
              </a:rPr>
              <a:t></a:t>
            </a:r>
            <a:r>
              <a:rPr lang="en-US" spc="-1" dirty="0">
                <a:solidFill>
                  <a:srgbClr val="08411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26 </a:t>
            </a:r>
            <a:r>
              <a:rPr lang="en-US" strike="noStrike" spc="-1" dirty="0">
                <a:solidFill>
                  <a:srgbClr val="08411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eurons</a:t>
            </a:r>
          </a:p>
        </p:txBody>
      </p:sp>
      <p:sp>
        <p:nvSpPr>
          <p:cNvPr id="77" name="CustomShape 1">
            <a:extLst>
              <a:ext uri="{FF2B5EF4-FFF2-40B4-BE49-F238E27FC236}">
                <a16:creationId xmlns:a16="http://schemas.microsoft.com/office/drawing/2014/main" id="{7E0E27A2-0A0C-177B-C5A0-4B2AA7822B57}"/>
              </a:ext>
            </a:extLst>
          </p:cNvPr>
          <p:cNvSpPr/>
          <p:nvPr/>
        </p:nvSpPr>
        <p:spPr>
          <a:xfrm>
            <a:off x="3560564" y="5640330"/>
            <a:ext cx="5169726" cy="629836"/>
          </a:xfrm>
          <a:prstGeom prst="rect">
            <a:avLst/>
          </a:prstGeom>
          <a:ln>
            <a:solidFill>
              <a:srgbClr val="084112"/>
            </a:solidFill>
            <a:rou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/>
        </p:style>
        <p:txBody>
          <a:bodyPr/>
          <a:lstStyle/>
          <a:p>
            <a:pPr algn="ctr"/>
            <a:r>
              <a:rPr lang="en-US" dirty="0">
                <a:solidFill>
                  <a:srgbClr val="08411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weights and bias are shared for each hidden neuron</a:t>
            </a:r>
          </a:p>
          <a:p>
            <a:pPr algn="ctr"/>
            <a:r>
              <a:rPr lang="en-US" dirty="0">
                <a:solidFill>
                  <a:srgbClr val="08411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shared weights and bias </a:t>
            </a:r>
            <a:r>
              <a:rPr lang="tr-TR" dirty="0">
                <a:solidFill>
                  <a:srgbClr val="08411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efine a</a:t>
            </a:r>
            <a:r>
              <a:rPr lang="en-US" dirty="0">
                <a:solidFill>
                  <a:srgbClr val="08411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b="1" dirty="0">
                <a:solidFill>
                  <a:srgbClr val="08411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ilter</a:t>
            </a:r>
            <a:r>
              <a:rPr lang="en-US" dirty="0">
                <a:solidFill>
                  <a:srgbClr val="08411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or </a:t>
            </a:r>
            <a:r>
              <a:rPr lang="tr-TR" dirty="0">
                <a:solidFill>
                  <a:srgbClr val="08411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 </a:t>
            </a:r>
            <a:r>
              <a:rPr lang="en-US" b="1" dirty="0">
                <a:solidFill>
                  <a:srgbClr val="08411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kernel</a:t>
            </a:r>
            <a:r>
              <a:rPr lang="en-US" dirty="0">
                <a:solidFill>
                  <a:srgbClr val="08411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</a:p>
        </p:txBody>
      </p:sp>
      <p:cxnSp>
        <p:nvCxnSpPr>
          <p:cNvPr id="78" name="Straight Arrow Connector 77">
            <a:extLst>
              <a:ext uri="{FF2B5EF4-FFF2-40B4-BE49-F238E27FC236}">
                <a16:creationId xmlns:a16="http://schemas.microsoft.com/office/drawing/2014/main" id="{3D0115EA-7B65-9144-D799-B41087B4976B}"/>
              </a:ext>
            </a:extLst>
          </p:cNvPr>
          <p:cNvCxnSpPr>
            <a:cxnSpLocks/>
          </p:cNvCxnSpPr>
          <p:nvPr/>
        </p:nvCxnSpPr>
        <p:spPr>
          <a:xfrm flipH="1">
            <a:off x="6013978" y="1523699"/>
            <a:ext cx="472142" cy="622526"/>
          </a:xfrm>
          <a:prstGeom prst="straightConnector1">
            <a:avLst/>
          </a:prstGeom>
          <a:noFill/>
          <a:ln>
            <a:solidFill>
              <a:srgbClr val="084112"/>
            </a:solidFill>
            <a:prstDash val="sysDash"/>
            <a:round/>
            <a:tailEnd type="triangle" w="med" len="med"/>
          </a:ln>
          <a:effectLst>
            <a:outerShdw blurRad="40000" dist="20160" dir="5400000" rotWithShape="0">
              <a:srgbClr val="000000">
                <a:alpha val="3800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/>
        </p:style>
      </p:cxnSp>
      <p:sp>
        <p:nvSpPr>
          <p:cNvPr id="79" name="CustomShape 21">
            <a:extLst>
              <a:ext uri="{FF2B5EF4-FFF2-40B4-BE49-F238E27FC236}">
                <a16:creationId xmlns:a16="http://schemas.microsoft.com/office/drawing/2014/main" id="{30F3168C-7A5E-7552-AD72-2D6A0DAE1920}"/>
              </a:ext>
            </a:extLst>
          </p:cNvPr>
          <p:cNvSpPr/>
          <p:nvPr/>
        </p:nvSpPr>
        <p:spPr>
          <a:xfrm>
            <a:off x="6018429" y="932814"/>
            <a:ext cx="1257565" cy="583321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1600" b="1" spc="-1" dirty="0">
                <a:solidFill>
                  <a:srgbClr val="08411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eature map</a:t>
            </a:r>
            <a:endParaRPr lang="tr-TR" sz="1600" b="1" spc="-1" dirty="0">
              <a:solidFill>
                <a:srgbClr val="08411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lnSpc>
                <a:spcPct val="100000"/>
              </a:lnSpc>
            </a:pPr>
            <a:r>
              <a:rPr lang="tr-TR" sz="1600" b="1" spc="-1" dirty="0">
                <a:solidFill>
                  <a:srgbClr val="08411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tr-TR" sz="1600" b="1" spc="-1" dirty="0" err="1">
                <a:solidFill>
                  <a:srgbClr val="08411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uses</a:t>
            </a:r>
            <a:r>
              <a:rPr lang="tr-TR" sz="1600" b="1" spc="-1" dirty="0">
                <a:solidFill>
                  <a:srgbClr val="08411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tr-TR" sz="1600" b="1" spc="-1" dirty="0" err="1">
                <a:solidFill>
                  <a:srgbClr val="08411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eLU</a:t>
            </a:r>
            <a:r>
              <a:rPr lang="tr-TR" sz="1600" b="1" spc="-1" dirty="0">
                <a:solidFill>
                  <a:srgbClr val="08411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endParaRPr lang="en-US" sz="1600" strike="noStrike" spc="-1" dirty="0">
              <a:solidFill>
                <a:srgbClr val="08411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80" name="Picture 79">
            <a:extLst>
              <a:ext uri="{FF2B5EF4-FFF2-40B4-BE49-F238E27FC236}">
                <a16:creationId xmlns:a16="http://schemas.microsoft.com/office/drawing/2014/main" id="{F7AAA919-9F80-D923-EEF3-A827A0D7C82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484263" y="632870"/>
            <a:ext cx="1551590" cy="1030939"/>
          </a:xfrm>
          <a:prstGeom prst="rect">
            <a:avLst/>
          </a:prstGeom>
        </p:spPr>
      </p:pic>
      <p:grpSp>
        <p:nvGrpSpPr>
          <p:cNvPr id="81" name="Group 80">
            <a:extLst>
              <a:ext uri="{FF2B5EF4-FFF2-40B4-BE49-F238E27FC236}">
                <a16:creationId xmlns:a16="http://schemas.microsoft.com/office/drawing/2014/main" id="{0C632B5E-C248-3811-6C48-A5434F43B164}"/>
              </a:ext>
            </a:extLst>
          </p:cNvPr>
          <p:cNvGrpSpPr/>
          <p:nvPr/>
        </p:nvGrpSpPr>
        <p:grpSpPr>
          <a:xfrm>
            <a:off x="2474968" y="1971858"/>
            <a:ext cx="5631860" cy="508531"/>
            <a:chOff x="934785" y="1971858"/>
            <a:chExt cx="5631860" cy="508531"/>
          </a:xfrm>
        </p:grpSpPr>
        <p:cxnSp>
          <p:nvCxnSpPr>
            <p:cNvPr id="82" name="Straight Arrow Connector 81">
              <a:extLst>
                <a:ext uri="{FF2B5EF4-FFF2-40B4-BE49-F238E27FC236}">
                  <a16:creationId xmlns:a16="http://schemas.microsoft.com/office/drawing/2014/main" id="{39E0FF10-9201-24CC-4115-36CDF3FA6F3B}"/>
                </a:ext>
              </a:extLst>
            </p:cNvPr>
            <p:cNvCxnSpPr>
              <a:cxnSpLocks/>
              <a:endCxn id="67" idx="1"/>
            </p:cNvCxnSpPr>
            <p:nvPr/>
          </p:nvCxnSpPr>
          <p:spPr>
            <a:xfrm>
              <a:off x="2714964" y="1976662"/>
              <a:ext cx="3851681" cy="306001"/>
            </a:xfrm>
            <a:prstGeom prst="straightConnector1">
              <a:avLst/>
            </a:prstGeom>
            <a:ln>
              <a:solidFill>
                <a:srgbClr val="00B0F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Straight Arrow Connector 82">
              <a:extLst>
                <a:ext uri="{FF2B5EF4-FFF2-40B4-BE49-F238E27FC236}">
                  <a16:creationId xmlns:a16="http://schemas.microsoft.com/office/drawing/2014/main" id="{7F0CFE81-B514-A172-0338-20B25AAEB23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41886" y="2282663"/>
              <a:ext cx="4102391" cy="60666"/>
            </a:xfrm>
            <a:prstGeom prst="straightConnector1">
              <a:avLst/>
            </a:prstGeom>
            <a:ln>
              <a:solidFill>
                <a:srgbClr val="00B0F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Straight Arrow Connector 83">
              <a:extLst>
                <a:ext uri="{FF2B5EF4-FFF2-40B4-BE49-F238E27FC236}">
                  <a16:creationId xmlns:a16="http://schemas.microsoft.com/office/drawing/2014/main" id="{89AD99B6-C6BC-5E94-EB6A-62402B35CD1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36740" y="2281190"/>
              <a:ext cx="4101510" cy="199199"/>
            </a:xfrm>
            <a:prstGeom prst="straightConnector1">
              <a:avLst/>
            </a:prstGeom>
            <a:ln>
              <a:solidFill>
                <a:srgbClr val="00B0F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Straight Arrow Connector 84">
              <a:extLst>
                <a:ext uri="{FF2B5EF4-FFF2-40B4-BE49-F238E27FC236}">
                  <a16:creationId xmlns:a16="http://schemas.microsoft.com/office/drawing/2014/main" id="{D1F31ACB-FF5C-B1F1-ED9B-92AB7EB3C020}"/>
                </a:ext>
              </a:extLst>
            </p:cNvPr>
            <p:cNvCxnSpPr>
              <a:cxnSpLocks/>
            </p:cNvCxnSpPr>
            <p:nvPr/>
          </p:nvCxnSpPr>
          <p:spPr>
            <a:xfrm>
              <a:off x="942387" y="2214298"/>
              <a:ext cx="4101890" cy="68365"/>
            </a:xfrm>
            <a:prstGeom prst="straightConnector1">
              <a:avLst/>
            </a:prstGeom>
            <a:ln>
              <a:solidFill>
                <a:srgbClr val="00B0F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Straight Arrow Connector 85">
              <a:extLst>
                <a:ext uri="{FF2B5EF4-FFF2-40B4-BE49-F238E27FC236}">
                  <a16:creationId xmlns:a16="http://schemas.microsoft.com/office/drawing/2014/main" id="{BD556786-081C-AEBB-53AE-1BE9CC81BFF6}"/>
                </a:ext>
              </a:extLst>
            </p:cNvPr>
            <p:cNvCxnSpPr>
              <a:cxnSpLocks/>
            </p:cNvCxnSpPr>
            <p:nvPr/>
          </p:nvCxnSpPr>
          <p:spPr>
            <a:xfrm>
              <a:off x="941893" y="2091158"/>
              <a:ext cx="4096357" cy="190032"/>
            </a:xfrm>
            <a:prstGeom prst="straightConnector1">
              <a:avLst/>
            </a:prstGeom>
            <a:ln>
              <a:solidFill>
                <a:srgbClr val="00B0F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Straight Arrow Connector 86">
              <a:extLst>
                <a:ext uri="{FF2B5EF4-FFF2-40B4-BE49-F238E27FC236}">
                  <a16:creationId xmlns:a16="http://schemas.microsoft.com/office/drawing/2014/main" id="{F0782859-DD0C-4E69-BA50-E60F2AC1F2E5}"/>
                </a:ext>
              </a:extLst>
            </p:cNvPr>
            <p:cNvCxnSpPr>
              <a:cxnSpLocks/>
            </p:cNvCxnSpPr>
            <p:nvPr/>
          </p:nvCxnSpPr>
          <p:spPr>
            <a:xfrm>
              <a:off x="1400175" y="2091157"/>
              <a:ext cx="3636714" cy="187584"/>
            </a:xfrm>
            <a:prstGeom prst="straightConnector1">
              <a:avLst/>
            </a:prstGeom>
            <a:ln>
              <a:solidFill>
                <a:srgbClr val="00B0F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Straight Arrow Connector 87">
              <a:extLst>
                <a:ext uri="{FF2B5EF4-FFF2-40B4-BE49-F238E27FC236}">
                  <a16:creationId xmlns:a16="http://schemas.microsoft.com/office/drawing/2014/main" id="{0BEC4BC1-F9D4-698B-A7A3-C502B6E2DEC2}"/>
                </a:ext>
              </a:extLst>
            </p:cNvPr>
            <p:cNvCxnSpPr>
              <a:cxnSpLocks/>
            </p:cNvCxnSpPr>
            <p:nvPr/>
          </p:nvCxnSpPr>
          <p:spPr>
            <a:xfrm>
              <a:off x="934785" y="1971858"/>
              <a:ext cx="4102104" cy="309332"/>
            </a:xfrm>
            <a:prstGeom prst="straightConnector1">
              <a:avLst/>
            </a:prstGeom>
            <a:ln>
              <a:solidFill>
                <a:srgbClr val="00B0F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89" name="Picture 88">
            <a:extLst>
              <a:ext uri="{FF2B5EF4-FFF2-40B4-BE49-F238E27FC236}">
                <a16:creationId xmlns:a16="http://schemas.microsoft.com/office/drawing/2014/main" id="{EC68523B-FD83-E502-005B-2B9B8362E31D}"/>
              </a:ext>
            </a:extLst>
          </p:cNvPr>
          <p:cNvPicPr/>
          <p:nvPr/>
        </p:nvPicPr>
        <p:blipFill>
          <a:blip r:embed="rId4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/>
        </p:blipFill>
        <p:spPr>
          <a:xfrm>
            <a:off x="2479561" y="1907127"/>
            <a:ext cx="588641" cy="623849"/>
          </a:xfrm>
          <a:prstGeom prst="rect">
            <a:avLst/>
          </a:prstGeom>
          <a:ln>
            <a:noFill/>
          </a:ln>
        </p:spPr>
      </p:pic>
      <p:pic>
        <p:nvPicPr>
          <p:cNvPr id="90" name="Picture 89">
            <a:extLst>
              <a:ext uri="{FF2B5EF4-FFF2-40B4-BE49-F238E27FC236}">
                <a16:creationId xmlns:a16="http://schemas.microsoft.com/office/drawing/2014/main" id="{16E369C9-057A-BDD4-4174-5E57FC3F28C7}"/>
              </a:ext>
            </a:extLst>
          </p:cNvPr>
          <p:cNvPicPr/>
          <p:nvPr/>
        </p:nvPicPr>
        <p:blipFill>
          <a:blip r:embed="rId4">
            <a:biLevel thresh="25000"/>
          </a:blip>
          <a:stretch/>
        </p:blipFill>
        <p:spPr>
          <a:xfrm>
            <a:off x="2598923" y="1907127"/>
            <a:ext cx="588641" cy="623849"/>
          </a:xfrm>
          <a:prstGeom prst="rect">
            <a:avLst/>
          </a:prstGeom>
          <a:ln>
            <a:noFill/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140465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0" grpId="0"/>
      <p:bldP spid="71" grpId="0"/>
      <p:bldP spid="75" grpId="0"/>
      <p:bldP spid="76" grpId="0"/>
      <p:bldP spid="77" grpId="0" animBg="1"/>
      <p:bldP spid="79" grpId="0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E6EF2DD4-1428-4F29-BED0-012580DEB727}"/>
              </a:ext>
            </a:extLst>
          </p:cNvPr>
          <p:cNvGrpSpPr/>
          <p:nvPr/>
        </p:nvGrpSpPr>
        <p:grpSpPr>
          <a:xfrm>
            <a:off x="1" y="6496048"/>
            <a:ext cx="12192000" cy="381103"/>
            <a:chOff x="-1" y="6496048"/>
            <a:chExt cx="12192001" cy="361952"/>
          </a:xfrm>
        </p:grpSpPr>
        <p:sp>
          <p:nvSpPr>
            <p:cNvPr id="17" name="Dikdörtgen 10">
              <a:extLst>
                <a:ext uri="{FF2B5EF4-FFF2-40B4-BE49-F238E27FC236}">
                  <a16:creationId xmlns:a16="http://schemas.microsoft.com/office/drawing/2014/main" id="{C14596DF-271A-400A-B0AE-693FCDF2F217}"/>
                </a:ext>
              </a:extLst>
            </p:cNvPr>
            <p:cNvSpPr/>
            <p:nvPr/>
          </p:nvSpPr>
          <p:spPr>
            <a:xfrm>
              <a:off x="10115547" y="6496049"/>
              <a:ext cx="2076453" cy="361951"/>
            </a:xfrm>
            <a:prstGeom prst="rect">
              <a:avLst/>
            </a:prstGeom>
            <a:solidFill>
              <a:srgbClr val="2198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dirty="0"/>
                <a:t>   Özgür Martin</a:t>
              </a:r>
            </a:p>
          </p:txBody>
        </p:sp>
        <p:sp>
          <p:nvSpPr>
            <p:cNvPr id="18" name="Dikdörtgen 10">
              <a:extLst>
                <a:ext uri="{FF2B5EF4-FFF2-40B4-BE49-F238E27FC236}">
                  <a16:creationId xmlns:a16="http://schemas.microsoft.com/office/drawing/2014/main" id="{84A5B1F6-64B9-4792-8088-33FD44F5342F}"/>
                </a:ext>
              </a:extLst>
            </p:cNvPr>
            <p:cNvSpPr/>
            <p:nvPr/>
          </p:nvSpPr>
          <p:spPr>
            <a:xfrm>
              <a:off x="-1" y="6496048"/>
              <a:ext cx="10151743" cy="361952"/>
            </a:xfrm>
            <a:prstGeom prst="rect">
              <a:avLst/>
            </a:prstGeom>
            <a:solidFill>
              <a:srgbClr val="2198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altLang="ko-KR" dirty="0" err="1">
                  <a:solidFill>
                    <a:schemeClr val="bg1"/>
                  </a:solidFill>
                  <a:cs typeface="Arial" pitchFamily="34" charset="0"/>
                </a:rPr>
                <a:t>Neural</a:t>
              </a:r>
              <a:r>
                <a:rPr lang="tr-TR" altLang="ko-KR" dirty="0">
                  <a:solidFill>
                    <a:schemeClr val="bg1"/>
                  </a:solidFill>
                  <a:cs typeface="Arial" pitchFamily="34" charset="0"/>
                </a:rPr>
                <a:t> Networks</a:t>
              </a:r>
            </a:p>
          </p:txBody>
        </p:sp>
      </p:grpSp>
      <p:sp>
        <p:nvSpPr>
          <p:cNvPr id="5" name="CustomShape 1">
            <a:extLst>
              <a:ext uri="{FF2B5EF4-FFF2-40B4-BE49-F238E27FC236}">
                <a16:creationId xmlns:a16="http://schemas.microsoft.com/office/drawing/2014/main" id="{99B5F533-9936-65A2-AABC-71D8549E68F9}"/>
              </a:ext>
            </a:extLst>
          </p:cNvPr>
          <p:cNvSpPr/>
          <p:nvPr/>
        </p:nvSpPr>
        <p:spPr>
          <a:xfrm>
            <a:off x="600438" y="273087"/>
            <a:ext cx="8170920" cy="106488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>
            <a:noAutofit/>
          </a:bodyPr>
          <a:lstStyle/>
          <a:p>
            <a:pPr>
              <a:lnSpc>
                <a:spcPts val="3200"/>
              </a:lnSpc>
            </a:pPr>
            <a:r>
              <a:rPr lang="en-US" sz="2800" b="0" strike="noStrike" spc="-1" dirty="0">
                <a:solidFill>
                  <a:srgbClr val="AB3348"/>
                </a:solidFill>
                <a:latin typeface="Times New Roman"/>
                <a:ea typeface="DejaVu Sans"/>
              </a:rPr>
              <a:t>CNN – Hidden Layer</a:t>
            </a:r>
            <a:endParaRPr lang="en-US" sz="2800" b="0" strike="noStrike" spc="-1" dirty="0">
              <a:latin typeface="Arial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224224B-B01F-B655-8F13-CBF4F3683E1E}"/>
              </a:ext>
            </a:extLst>
          </p:cNvPr>
          <p:cNvSpPr/>
          <p:nvPr/>
        </p:nvSpPr>
        <p:spPr>
          <a:xfrm>
            <a:off x="2251965" y="1969270"/>
            <a:ext cx="3537069" cy="2497427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D19317F-7CCA-7634-F528-C3FCAACE70FF}"/>
              </a:ext>
            </a:extLst>
          </p:cNvPr>
          <p:cNvSpPr/>
          <p:nvPr/>
        </p:nvSpPr>
        <p:spPr>
          <a:xfrm>
            <a:off x="6463447" y="2283227"/>
            <a:ext cx="3064797" cy="1992318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CBC67BF-7F67-0D44-FC80-889EAD4073AB}"/>
              </a:ext>
            </a:extLst>
          </p:cNvPr>
          <p:cNvSpPr/>
          <p:nvPr/>
        </p:nvSpPr>
        <p:spPr>
          <a:xfrm>
            <a:off x="6615847" y="2435627"/>
            <a:ext cx="3064797" cy="1992318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1C7FDBD-2528-126D-7785-81C6853B3614}"/>
              </a:ext>
            </a:extLst>
          </p:cNvPr>
          <p:cNvSpPr/>
          <p:nvPr/>
        </p:nvSpPr>
        <p:spPr>
          <a:xfrm>
            <a:off x="6768247" y="2588027"/>
            <a:ext cx="3064797" cy="1992318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E8D83B1-E17C-B826-36F2-AE5E5C69FA1B}"/>
              </a:ext>
            </a:extLst>
          </p:cNvPr>
          <p:cNvSpPr/>
          <p:nvPr/>
        </p:nvSpPr>
        <p:spPr>
          <a:xfrm>
            <a:off x="6920647" y="2740427"/>
            <a:ext cx="3064797" cy="1992318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6FF9CC70-2CA6-80D2-1EBA-75AE70150DC9}"/>
              </a:ext>
            </a:extLst>
          </p:cNvPr>
          <p:cNvCxnSpPr>
            <a:cxnSpLocks/>
            <a:stCxn id="6" idx="3"/>
            <a:endCxn id="7" idx="1"/>
          </p:cNvCxnSpPr>
          <p:nvPr/>
        </p:nvCxnSpPr>
        <p:spPr>
          <a:xfrm>
            <a:off x="5789034" y="3217984"/>
            <a:ext cx="674413" cy="61402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A08328EC-850A-4DD4-0FFE-A84D5F90977D}"/>
              </a:ext>
            </a:extLst>
          </p:cNvPr>
          <p:cNvCxnSpPr>
            <a:cxnSpLocks/>
            <a:stCxn id="6" idx="3"/>
            <a:endCxn id="8" idx="1"/>
          </p:cNvCxnSpPr>
          <p:nvPr/>
        </p:nvCxnSpPr>
        <p:spPr>
          <a:xfrm>
            <a:off x="5789034" y="3217984"/>
            <a:ext cx="826813" cy="213802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35E8ED36-9EE8-95E6-4DE7-069D61DDEFBE}"/>
              </a:ext>
            </a:extLst>
          </p:cNvPr>
          <p:cNvCxnSpPr>
            <a:cxnSpLocks/>
            <a:stCxn id="6" idx="3"/>
            <a:endCxn id="9" idx="1"/>
          </p:cNvCxnSpPr>
          <p:nvPr/>
        </p:nvCxnSpPr>
        <p:spPr>
          <a:xfrm>
            <a:off x="5789034" y="3217984"/>
            <a:ext cx="979213" cy="366202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1D657636-082F-329F-307B-C16B1F6D0DDB}"/>
              </a:ext>
            </a:extLst>
          </p:cNvPr>
          <p:cNvCxnSpPr>
            <a:cxnSpLocks/>
            <a:stCxn id="6" idx="3"/>
            <a:endCxn id="10" idx="1"/>
          </p:cNvCxnSpPr>
          <p:nvPr/>
        </p:nvCxnSpPr>
        <p:spPr>
          <a:xfrm>
            <a:off x="5789034" y="3217984"/>
            <a:ext cx="1131613" cy="518602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5" name="CustomShape 21">
            <a:extLst>
              <a:ext uri="{FF2B5EF4-FFF2-40B4-BE49-F238E27FC236}">
                <a16:creationId xmlns:a16="http://schemas.microsoft.com/office/drawing/2014/main" id="{3AA192AF-66F2-12F0-3A5C-45FD42CE11DC}"/>
              </a:ext>
            </a:extLst>
          </p:cNvPr>
          <p:cNvSpPr/>
          <p:nvPr/>
        </p:nvSpPr>
        <p:spPr>
          <a:xfrm>
            <a:off x="2251965" y="4930471"/>
            <a:ext cx="3662254" cy="367878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square" lIns="90000" tIns="45000" rIns="90000" bIns="4500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pc="-1" dirty="0">
                <a:solidFill>
                  <a:srgbClr val="08411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put: 20 </a:t>
            </a:r>
            <a:r>
              <a:rPr lang="en-US" spc="-1" dirty="0">
                <a:solidFill>
                  <a:srgbClr val="084112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Symbol" panose="05050102010706020507" pitchFamily="18" charset="2"/>
              </a:rPr>
              <a:t></a:t>
            </a:r>
            <a:r>
              <a:rPr lang="en-US" spc="-1" dirty="0">
                <a:solidFill>
                  <a:srgbClr val="08411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30 </a:t>
            </a:r>
            <a:r>
              <a:rPr lang="en-US" strike="noStrike" spc="-1" dirty="0">
                <a:solidFill>
                  <a:srgbClr val="08411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eurons</a:t>
            </a:r>
          </a:p>
        </p:txBody>
      </p:sp>
      <p:sp>
        <p:nvSpPr>
          <p:cNvPr id="19" name="CustomShape 21">
            <a:extLst>
              <a:ext uri="{FF2B5EF4-FFF2-40B4-BE49-F238E27FC236}">
                <a16:creationId xmlns:a16="http://schemas.microsoft.com/office/drawing/2014/main" id="{4037FEE2-8F81-0F98-ACF3-BEC5F4EADD74}"/>
              </a:ext>
            </a:extLst>
          </p:cNvPr>
          <p:cNvSpPr/>
          <p:nvPr/>
        </p:nvSpPr>
        <p:spPr>
          <a:xfrm>
            <a:off x="6278295" y="4930471"/>
            <a:ext cx="3725805" cy="64487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pc="-1" dirty="0">
                <a:solidFill>
                  <a:srgbClr val="084112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Symbol" panose="05050102010706020507" pitchFamily="18" charset="2"/>
              </a:rPr>
              <a:t>first hidden layer: 4  </a:t>
            </a:r>
            <a:r>
              <a:rPr lang="en-US" spc="-1" dirty="0">
                <a:solidFill>
                  <a:srgbClr val="08411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6 </a:t>
            </a:r>
            <a:r>
              <a:rPr lang="en-US" spc="-1" dirty="0">
                <a:solidFill>
                  <a:srgbClr val="084112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Symbol" panose="05050102010706020507" pitchFamily="18" charset="2"/>
              </a:rPr>
              <a:t></a:t>
            </a:r>
            <a:r>
              <a:rPr lang="en-US" spc="-1" dirty="0">
                <a:solidFill>
                  <a:srgbClr val="08411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26 </a:t>
            </a:r>
            <a:r>
              <a:rPr lang="en-US" strike="noStrike" spc="-1" dirty="0">
                <a:solidFill>
                  <a:srgbClr val="08411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eurons</a:t>
            </a:r>
            <a:endParaRPr lang="tr-TR" strike="noStrike" spc="-1" dirty="0">
              <a:solidFill>
                <a:srgbClr val="08411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en-US" spc="-1" dirty="0">
                <a:solidFill>
                  <a:srgbClr val="08411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tr-TR" b="1" spc="-1" dirty="0" err="1">
                <a:solidFill>
                  <a:srgbClr val="08411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nvolutional</a:t>
            </a:r>
            <a:r>
              <a:rPr lang="en-US" b="1" spc="-1" dirty="0">
                <a:solidFill>
                  <a:srgbClr val="08411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layer</a:t>
            </a:r>
            <a:r>
              <a:rPr lang="en-US" spc="-1" dirty="0">
                <a:solidFill>
                  <a:srgbClr val="08411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</a:p>
        </p:txBody>
      </p:sp>
      <p:sp>
        <p:nvSpPr>
          <p:cNvPr id="20" name="CustomShape 21">
            <a:extLst>
              <a:ext uri="{FF2B5EF4-FFF2-40B4-BE49-F238E27FC236}">
                <a16:creationId xmlns:a16="http://schemas.microsoft.com/office/drawing/2014/main" id="{88A258E7-EA17-4245-4506-7C6BB8E46C4A}"/>
              </a:ext>
            </a:extLst>
          </p:cNvPr>
          <p:cNvSpPr/>
          <p:nvPr/>
        </p:nvSpPr>
        <p:spPr>
          <a:xfrm>
            <a:off x="3489686" y="5807996"/>
            <a:ext cx="4859449" cy="367878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pc="-1" dirty="0">
                <a:solidFill>
                  <a:srgbClr val="08411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umber of weights and biases = (25 + 1) </a:t>
            </a:r>
            <a:r>
              <a:rPr lang="en-US" spc="-1" dirty="0">
                <a:solidFill>
                  <a:srgbClr val="084112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Symbol" panose="05050102010706020507" pitchFamily="18" charset="2"/>
              </a:rPr>
              <a:t> 4 = 104</a:t>
            </a:r>
            <a:endParaRPr lang="en-US" strike="noStrike" spc="-1" dirty="0">
              <a:solidFill>
                <a:srgbClr val="08411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3838C79A-4D1D-35CD-67B4-3C501BA1BCBE}"/>
              </a:ext>
            </a:extLst>
          </p:cNvPr>
          <p:cNvPicPr/>
          <p:nvPr/>
        </p:nvPicPr>
        <p:blipFill>
          <a:blip r:embed="rId4">
            <a:biLevel thresh="25000"/>
          </a:blip>
          <a:stretch/>
        </p:blipFill>
        <p:spPr>
          <a:xfrm>
            <a:off x="2488045" y="1969270"/>
            <a:ext cx="588641" cy="623849"/>
          </a:xfrm>
          <a:prstGeom prst="rect">
            <a:avLst/>
          </a:prstGeom>
          <a:ln>
            <a:noFill/>
          </a:ln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630C8CC4-DC6A-7932-21A9-8A93C7EC3823}"/>
              </a:ext>
            </a:extLst>
          </p:cNvPr>
          <p:cNvPicPr/>
          <p:nvPr/>
        </p:nvPicPr>
        <p:blipFill rotWithShape="1">
          <a:blip r:embed="rId4">
            <a:biLevel thresh="25000"/>
          </a:blip>
          <a:srcRect l="79416" b="80079"/>
          <a:stretch/>
        </p:blipFill>
        <p:spPr>
          <a:xfrm>
            <a:off x="6692076" y="2281194"/>
            <a:ext cx="121168" cy="124278"/>
          </a:xfrm>
          <a:prstGeom prst="rect">
            <a:avLst/>
          </a:prstGeom>
          <a:ln>
            <a:noFill/>
          </a:ln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67871889-6C00-24DD-4FC1-9014FBA5DDB7}"/>
              </a:ext>
            </a:extLst>
          </p:cNvPr>
          <p:cNvPicPr/>
          <p:nvPr/>
        </p:nvPicPr>
        <p:blipFill rotWithShape="1">
          <a:blip r:embed="rId4">
            <a:biLevel thresh="25000"/>
          </a:blip>
          <a:srcRect l="79416" b="80079"/>
          <a:stretch/>
        </p:blipFill>
        <p:spPr>
          <a:xfrm>
            <a:off x="6844476" y="2433594"/>
            <a:ext cx="121168" cy="124278"/>
          </a:xfrm>
          <a:prstGeom prst="rect">
            <a:avLst/>
          </a:prstGeom>
          <a:ln>
            <a:noFill/>
          </a:ln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94BE1109-3E11-CD97-6187-024FECD68033}"/>
              </a:ext>
            </a:extLst>
          </p:cNvPr>
          <p:cNvPicPr/>
          <p:nvPr/>
        </p:nvPicPr>
        <p:blipFill rotWithShape="1">
          <a:blip r:embed="rId4">
            <a:biLevel thresh="25000"/>
          </a:blip>
          <a:srcRect l="79416" b="80079"/>
          <a:stretch/>
        </p:blipFill>
        <p:spPr>
          <a:xfrm>
            <a:off x="6996876" y="2585994"/>
            <a:ext cx="121168" cy="124278"/>
          </a:xfrm>
          <a:prstGeom prst="rect">
            <a:avLst/>
          </a:prstGeom>
          <a:ln>
            <a:noFill/>
          </a:ln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A7B2D655-0AAC-E710-5673-5B36B027A8DF}"/>
              </a:ext>
            </a:extLst>
          </p:cNvPr>
          <p:cNvPicPr/>
          <p:nvPr/>
        </p:nvPicPr>
        <p:blipFill rotWithShape="1">
          <a:blip r:embed="rId4">
            <a:biLevel thresh="25000"/>
          </a:blip>
          <a:srcRect l="79416" b="80079"/>
          <a:stretch/>
        </p:blipFill>
        <p:spPr>
          <a:xfrm>
            <a:off x="7149276" y="2738394"/>
            <a:ext cx="121168" cy="124278"/>
          </a:xfrm>
          <a:prstGeom prst="rect">
            <a:avLst/>
          </a:prstGeom>
          <a:ln>
            <a:noFill/>
          </a:ln>
        </p:spPr>
      </p:pic>
      <p:sp>
        <p:nvSpPr>
          <p:cNvPr id="26" name="CustomShape 1">
            <a:extLst>
              <a:ext uri="{FF2B5EF4-FFF2-40B4-BE49-F238E27FC236}">
                <a16:creationId xmlns:a16="http://schemas.microsoft.com/office/drawing/2014/main" id="{F81AA893-6F59-2118-DB67-B6B2CF1AAD00}"/>
              </a:ext>
            </a:extLst>
          </p:cNvPr>
          <p:cNvSpPr/>
          <p:nvPr/>
        </p:nvSpPr>
        <p:spPr>
          <a:xfrm>
            <a:off x="4608306" y="1109269"/>
            <a:ext cx="2785998" cy="389545"/>
          </a:xfrm>
          <a:prstGeom prst="rect">
            <a:avLst/>
          </a:prstGeom>
          <a:ln>
            <a:solidFill>
              <a:srgbClr val="084112"/>
            </a:solidFill>
            <a:rou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/>
        </p:style>
        <p:txBody>
          <a:bodyPr/>
          <a:lstStyle/>
          <a:p>
            <a:pPr algn="ctr"/>
            <a:r>
              <a:rPr lang="en-US" dirty="0">
                <a:solidFill>
                  <a:srgbClr val="08411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ultiple feature map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415589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 animBg="1"/>
      <p:bldP spid="10" grpId="0" animBg="1"/>
      <p:bldP spid="15" grpId="0"/>
      <p:bldP spid="19" grpId="0"/>
      <p:bldP spid="20" grpId="0"/>
      <p:bldP spid="26" grpId="0" animBg="1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E6EF2DD4-1428-4F29-BED0-012580DEB727}"/>
              </a:ext>
            </a:extLst>
          </p:cNvPr>
          <p:cNvGrpSpPr/>
          <p:nvPr/>
        </p:nvGrpSpPr>
        <p:grpSpPr>
          <a:xfrm>
            <a:off x="1" y="6496048"/>
            <a:ext cx="12192000" cy="381103"/>
            <a:chOff x="-1" y="6496048"/>
            <a:chExt cx="12192001" cy="361952"/>
          </a:xfrm>
        </p:grpSpPr>
        <p:sp>
          <p:nvSpPr>
            <p:cNvPr id="17" name="Dikdörtgen 10">
              <a:extLst>
                <a:ext uri="{FF2B5EF4-FFF2-40B4-BE49-F238E27FC236}">
                  <a16:creationId xmlns:a16="http://schemas.microsoft.com/office/drawing/2014/main" id="{C14596DF-271A-400A-B0AE-693FCDF2F217}"/>
                </a:ext>
              </a:extLst>
            </p:cNvPr>
            <p:cNvSpPr/>
            <p:nvPr/>
          </p:nvSpPr>
          <p:spPr>
            <a:xfrm>
              <a:off x="10115547" y="6496049"/>
              <a:ext cx="2076453" cy="361951"/>
            </a:xfrm>
            <a:prstGeom prst="rect">
              <a:avLst/>
            </a:prstGeom>
            <a:solidFill>
              <a:srgbClr val="2198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dirty="0"/>
                <a:t>   Özgür Martin</a:t>
              </a:r>
            </a:p>
          </p:txBody>
        </p:sp>
        <p:sp>
          <p:nvSpPr>
            <p:cNvPr id="18" name="Dikdörtgen 10">
              <a:extLst>
                <a:ext uri="{FF2B5EF4-FFF2-40B4-BE49-F238E27FC236}">
                  <a16:creationId xmlns:a16="http://schemas.microsoft.com/office/drawing/2014/main" id="{84A5B1F6-64B9-4792-8088-33FD44F5342F}"/>
                </a:ext>
              </a:extLst>
            </p:cNvPr>
            <p:cNvSpPr/>
            <p:nvPr/>
          </p:nvSpPr>
          <p:spPr>
            <a:xfrm>
              <a:off x="-1" y="6496048"/>
              <a:ext cx="10151743" cy="361952"/>
            </a:xfrm>
            <a:prstGeom prst="rect">
              <a:avLst/>
            </a:prstGeom>
            <a:solidFill>
              <a:srgbClr val="2198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altLang="ko-KR" dirty="0" err="1">
                  <a:solidFill>
                    <a:schemeClr val="bg1"/>
                  </a:solidFill>
                  <a:cs typeface="Arial" pitchFamily="34" charset="0"/>
                </a:rPr>
                <a:t>Neural</a:t>
              </a:r>
              <a:r>
                <a:rPr lang="tr-TR" altLang="ko-KR" dirty="0">
                  <a:solidFill>
                    <a:schemeClr val="bg1"/>
                  </a:solidFill>
                  <a:cs typeface="Arial" pitchFamily="34" charset="0"/>
                </a:rPr>
                <a:t> Networks</a:t>
              </a:r>
            </a:p>
          </p:txBody>
        </p:sp>
      </p:grpSp>
      <p:sp>
        <p:nvSpPr>
          <p:cNvPr id="5" name="CustomShape 1">
            <a:extLst>
              <a:ext uri="{FF2B5EF4-FFF2-40B4-BE49-F238E27FC236}">
                <a16:creationId xmlns:a16="http://schemas.microsoft.com/office/drawing/2014/main" id="{688099D7-265F-AE27-EA08-5EE5C918A161}"/>
              </a:ext>
            </a:extLst>
          </p:cNvPr>
          <p:cNvSpPr/>
          <p:nvPr/>
        </p:nvSpPr>
        <p:spPr>
          <a:xfrm>
            <a:off x="609172" y="335263"/>
            <a:ext cx="8170920" cy="106488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>
            <a:noAutofit/>
          </a:bodyPr>
          <a:lstStyle/>
          <a:p>
            <a:pPr>
              <a:lnSpc>
                <a:spcPts val="3200"/>
              </a:lnSpc>
            </a:pPr>
            <a:r>
              <a:rPr lang="en-US" sz="2800" b="0" strike="noStrike" spc="-1" dirty="0">
                <a:solidFill>
                  <a:srgbClr val="AB3348"/>
                </a:solidFill>
                <a:latin typeface="Times New Roman"/>
                <a:ea typeface="DejaVu Sans"/>
              </a:rPr>
              <a:t>CNN – Pooling Layer</a:t>
            </a:r>
            <a:endParaRPr lang="en-US" sz="2800" b="0" strike="noStrike" spc="-1" dirty="0">
              <a:latin typeface="Arial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505B9D1-3E0C-07BC-A418-B2D01A195E1C}"/>
              </a:ext>
            </a:extLst>
          </p:cNvPr>
          <p:cNvSpPr/>
          <p:nvPr/>
        </p:nvSpPr>
        <p:spPr>
          <a:xfrm>
            <a:off x="2090879" y="2586664"/>
            <a:ext cx="3064797" cy="1992318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E1B1AF1-F2CA-4531-F736-DF365D982BAA}"/>
              </a:ext>
            </a:extLst>
          </p:cNvPr>
          <p:cNvSpPr/>
          <p:nvPr/>
        </p:nvSpPr>
        <p:spPr>
          <a:xfrm>
            <a:off x="2243279" y="2739064"/>
            <a:ext cx="3064797" cy="1992318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76B47CA-64F4-A6E0-6F3B-8CE41AEA816A}"/>
              </a:ext>
            </a:extLst>
          </p:cNvPr>
          <p:cNvSpPr/>
          <p:nvPr/>
        </p:nvSpPr>
        <p:spPr>
          <a:xfrm>
            <a:off x="2395679" y="2891464"/>
            <a:ext cx="3064797" cy="1992318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6DCB0E0-EC3E-A8A1-1D3A-A9FD25D70CAF}"/>
              </a:ext>
            </a:extLst>
          </p:cNvPr>
          <p:cNvSpPr/>
          <p:nvPr/>
        </p:nvSpPr>
        <p:spPr>
          <a:xfrm>
            <a:off x="2548079" y="3043864"/>
            <a:ext cx="3064797" cy="1992318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20CBBD6-ED9D-E3AA-8D9F-738F27054EF1}"/>
              </a:ext>
            </a:extLst>
          </p:cNvPr>
          <p:cNvPicPr/>
          <p:nvPr/>
        </p:nvPicPr>
        <p:blipFill rotWithShape="1">
          <a:blip r:embed="rId4">
            <a:biLevel thresh="25000"/>
          </a:blip>
          <a:srcRect r="59964" b="59320"/>
          <a:stretch/>
        </p:blipFill>
        <p:spPr>
          <a:xfrm>
            <a:off x="2277843" y="2612173"/>
            <a:ext cx="235671" cy="253781"/>
          </a:xfrm>
          <a:prstGeom prst="rect">
            <a:avLst/>
          </a:prstGeom>
          <a:ln>
            <a:noFill/>
          </a:ln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313A343C-C783-27FC-0CCB-2F4DF365FB92}"/>
              </a:ext>
            </a:extLst>
          </p:cNvPr>
          <p:cNvSpPr/>
          <p:nvPr/>
        </p:nvSpPr>
        <p:spPr>
          <a:xfrm>
            <a:off x="6941000" y="3028446"/>
            <a:ext cx="1899276" cy="1333102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80602B9-5AFE-8DCE-CB54-277A6B73BA3E}"/>
              </a:ext>
            </a:extLst>
          </p:cNvPr>
          <p:cNvSpPr/>
          <p:nvPr/>
        </p:nvSpPr>
        <p:spPr>
          <a:xfrm>
            <a:off x="7093400" y="3180846"/>
            <a:ext cx="1899276" cy="1333102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6618DB2-ACB0-EF2F-E820-953306D4449B}"/>
              </a:ext>
            </a:extLst>
          </p:cNvPr>
          <p:cNvSpPr/>
          <p:nvPr/>
        </p:nvSpPr>
        <p:spPr>
          <a:xfrm>
            <a:off x="7245800" y="3333246"/>
            <a:ext cx="1899276" cy="1333102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437295B-3F03-DC0C-115B-810A483104D8}"/>
              </a:ext>
            </a:extLst>
          </p:cNvPr>
          <p:cNvSpPr/>
          <p:nvPr/>
        </p:nvSpPr>
        <p:spPr>
          <a:xfrm>
            <a:off x="7398200" y="3485646"/>
            <a:ext cx="1899276" cy="1333102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9D5B8BA4-6D0F-E9CF-2A70-251F9B986E6C}"/>
              </a:ext>
            </a:extLst>
          </p:cNvPr>
          <p:cNvCxnSpPr>
            <a:cxnSpLocks/>
            <a:stCxn id="6" idx="3"/>
            <a:endCxn id="11" idx="1"/>
          </p:cNvCxnSpPr>
          <p:nvPr/>
        </p:nvCxnSpPr>
        <p:spPr>
          <a:xfrm>
            <a:off x="5155676" y="3582823"/>
            <a:ext cx="1785324" cy="112174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9F8251A9-1658-C92F-5F16-A4D873D21680}"/>
              </a:ext>
            </a:extLst>
          </p:cNvPr>
          <p:cNvCxnSpPr>
            <a:cxnSpLocks/>
            <a:stCxn id="7" idx="3"/>
            <a:endCxn id="12" idx="1"/>
          </p:cNvCxnSpPr>
          <p:nvPr/>
        </p:nvCxnSpPr>
        <p:spPr>
          <a:xfrm>
            <a:off x="5308076" y="3735223"/>
            <a:ext cx="1785324" cy="112174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95EAC3FF-DE00-712F-39A7-D95AD17667BF}"/>
              </a:ext>
            </a:extLst>
          </p:cNvPr>
          <p:cNvCxnSpPr>
            <a:cxnSpLocks/>
            <a:stCxn id="8" idx="3"/>
            <a:endCxn id="13" idx="1"/>
          </p:cNvCxnSpPr>
          <p:nvPr/>
        </p:nvCxnSpPr>
        <p:spPr>
          <a:xfrm>
            <a:off x="5460476" y="3887623"/>
            <a:ext cx="1785324" cy="112174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F49D933E-7BED-2FEE-B6CA-9E8DAF147926}"/>
              </a:ext>
            </a:extLst>
          </p:cNvPr>
          <p:cNvCxnSpPr>
            <a:cxnSpLocks/>
            <a:stCxn id="9" idx="3"/>
            <a:endCxn id="14" idx="1"/>
          </p:cNvCxnSpPr>
          <p:nvPr/>
        </p:nvCxnSpPr>
        <p:spPr>
          <a:xfrm>
            <a:off x="5612876" y="4040023"/>
            <a:ext cx="1785324" cy="112174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22" name="Picture 21">
            <a:extLst>
              <a:ext uri="{FF2B5EF4-FFF2-40B4-BE49-F238E27FC236}">
                <a16:creationId xmlns:a16="http://schemas.microsoft.com/office/drawing/2014/main" id="{362358E6-C3A2-550C-98DD-8CB20338CE72}"/>
              </a:ext>
            </a:extLst>
          </p:cNvPr>
          <p:cNvPicPr/>
          <p:nvPr/>
        </p:nvPicPr>
        <p:blipFill rotWithShape="1">
          <a:blip r:embed="rId4">
            <a:biLevel thresh="25000"/>
          </a:blip>
          <a:srcRect l="79416" b="80079"/>
          <a:stretch/>
        </p:blipFill>
        <p:spPr>
          <a:xfrm>
            <a:off x="7167717" y="3046476"/>
            <a:ext cx="121168" cy="124278"/>
          </a:xfrm>
          <a:prstGeom prst="rect">
            <a:avLst/>
          </a:prstGeom>
          <a:ln>
            <a:noFill/>
          </a:ln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FDAD3238-7A44-52D6-5251-1B8EB3D7D5B4}"/>
              </a:ext>
            </a:extLst>
          </p:cNvPr>
          <p:cNvPicPr/>
          <p:nvPr/>
        </p:nvPicPr>
        <p:blipFill rotWithShape="1">
          <a:blip r:embed="rId4">
            <a:biLevel thresh="25000"/>
          </a:blip>
          <a:srcRect l="79416" b="80079"/>
          <a:stretch/>
        </p:blipFill>
        <p:spPr>
          <a:xfrm>
            <a:off x="7320117" y="3198876"/>
            <a:ext cx="121168" cy="124278"/>
          </a:xfrm>
          <a:prstGeom prst="rect">
            <a:avLst/>
          </a:prstGeom>
          <a:ln>
            <a:noFill/>
          </a:ln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E4CAB3D6-57D2-4103-B636-2B45F5AED33C}"/>
              </a:ext>
            </a:extLst>
          </p:cNvPr>
          <p:cNvPicPr/>
          <p:nvPr/>
        </p:nvPicPr>
        <p:blipFill rotWithShape="1">
          <a:blip r:embed="rId4">
            <a:biLevel thresh="25000"/>
          </a:blip>
          <a:srcRect l="79416" b="80079"/>
          <a:stretch/>
        </p:blipFill>
        <p:spPr>
          <a:xfrm>
            <a:off x="7472517" y="3351276"/>
            <a:ext cx="121168" cy="124278"/>
          </a:xfrm>
          <a:prstGeom prst="rect">
            <a:avLst/>
          </a:prstGeom>
          <a:ln>
            <a:noFill/>
          </a:ln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72B7D735-723F-A07C-DA26-47D34AAD5B39}"/>
              </a:ext>
            </a:extLst>
          </p:cNvPr>
          <p:cNvPicPr/>
          <p:nvPr/>
        </p:nvPicPr>
        <p:blipFill rotWithShape="1">
          <a:blip r:embed="rId4">
            <a:biLevel thresh="25000"/>
          </a:blip>
          <a:srcRect l="79416" b="80079"/>
          <a:stretch/>
        </p:blipFill>
        <p:spPr>
          <a:xfrm>
            <a:off x="7624917" y="3503676"/>
            <a:ext cx="121168" cy="124278"/>
          </a:xfrm>
          <a:prstGeom prst="rect">
            <a:avLst/>
          </a:prstGeom>
          <a:ln>
            <a:noFill/>
          </a:ln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76B9A724-0F7C-55EB-A386-E1455695C5D0}"/>
              </a:ext>
            </a:extLst>
          </p:cNvPr>
          <p:cNvPicPr/>
          <p:nvPr/>
        </p:nvPicPr>
        <p:blipFill rotWithShape="1">
          <a:blip r:embed="rId4">
            <a:biLevel thresh="25000"/>
          </a:blip>
          <a:srcRect r="59964" b="59320"/>
          <a:stretch/>
        </p:blipFill>
        <p:spPr>
          <a:xfrm>
            <a:off x="2517333" y="2764573"/>
            <a:ext cx="235671" cy="253781"/>
          </a:xfrm>
          <a:prstGeom prst="rect">
            <a:avLst/>
          </a:prstGeom>
          <a:ln>
            <a:noFill/>
          </a:ln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4257FC1E-E199-1A4A-9554-E2DB1DB0E169}"/>
              </a:ext>
            </a:extLst>
          </p:cNvPr>
          <p:cNvPicPr/>
          <p:nvPr/>
        </p:nvPicPr>
        <p:blipFill rotWithShape="1">
          <a:blip r:embed="rId4">
            <a:biLevel thresh="25000"/>
          </a:blip>
          <a:srcRect r="59964" b="59320"/>
          <a:stretch/>
        </p:blipFill>
        <p:spPr>
          <a:xfrm>
            <a:off x="2753195" y="2916973"/>
            <a:ext cx="235671" cy="253781"/>
          </a:xfrm>
          <a:prstGeom prst="rect">
            <a:avLst/>
          </a:prstGeom>
          <a:ln>
            <a:noFill/>
          </a:ln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AC341B22-2AE0-75DD-5970-49D212D3F325}"/>
              </a:ext>
            </a:extLst>
          </p:cNvPr>
          <p:cNvPicPr/>
          <p:nvPr/>
        </p:nvPicPr>
        <p:blipFill rotWithShape="1">
          <a:blip r:embed="rId4">
            <a:biLevel thresh="25000"/>
          </a:blip>
          <a:srcRect r="59964" b="59320"/>
          <a:stretch/>
        </p:blipFill>
        <p:spPr>
          <a:xfrm>
            <a:off x="2992681" y="3069373"/>
            <a:ext cx="235671" cy="253781"/>
          </a:xfrm>
          <a:prstGeom prst="rect">
            <a:avLst/>
          </a:prstGeom>
          <a:ln>
            <a:noFill/>
          </a:ln>
        </p:spPr>
      </p:pic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D6D18D02-9F7F-7586-9EA2-710C119878EE}"/>
              </a:ext>
            </a:extLst>
          </p:cNvPr>
          <p:cNvCxnSpPr>
            <a:cxnSpLocks/>
            <a:stCxn id="10" idx="3"/>
            <a:endCxn id="22" idx="1"/>
          </p:cNvCxnSpPr>
          <p:nvPr/>
        </p:nvCxnSpPr>
        <p:spPr>
          <a:xfrm>
            <a:off x="2513514" y="2739064"/>
            <a:ext cx="4654203" cy="369551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A55BA87A-F198-138B-4241-9C35490340A1}"/>
              </a:ext>
            </a:extLst>
          </p:cNvPr>
          <p:cNvCxnSpPr>
            <a:cxnSpLocks/>
            <a:stCxn id="26" idx="3"/>
            <a:endCxn id="23" idx="1"/>
          </p:cNvCxnSpPr>
          <p:nvPr/>
        </p:nvCxnSpPr>
        <p:spPr>
          <a:xfrm>
            <a:off x="2753004" y="2891464"/>
            <a:ext cx="4567113" cy="369551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04F2909B-673E-76CD-98FE-D280483B6358}"/>
              </a:ext>
            </a:extLst>
          </p:cNvPr>
          <p:cNvCxnSpPr>
            <a:cxnSpLocks/>
            <a:stCxn id="27" idx="3"/>
            <a:endCxn id="24" idx="1"/>
          </p:cNvCxnSpPr>
          <p:nvPr/>
        </p:nvCxnSpPr>
        <p:spPr>
          <a:xfrm>
            <a:off x="2988866" y="3043864"/>
            <a:ext cx="4483651" cy="369551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A2AC7486-79C9-26AA-A293-FB7B6EC8D123}"/>
              </a:ext>
            </a:extLst>
          </p:cNvPr>
          <p:cNvCxnSpPr>
            <a:cxnSpLocks/>
            <a:stCxn id="28" idx="3"/>
            <a:endCxn id="25" idx="1"/>
          </p:cNvCxnSpPr>
          <p:nvPr/>
        </p:nvCxnSpPr>
        <p:spPr>
          <a:xfrm>
            <a:off x="3228352" y="3196264"/>
            <a:ext cx="4396565" cy="369551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CustomShape 21">
            <a:extLst>
              <a:ext uri="{FF2B5EF4-FFF2-40B4-BE49-F238E27FC236}">
                <a16:creationId xmlns:a16="http://schemas.microsoft.com/office/drawing/2014/main" id="{1AB261A1-D18A-B05A-6B9A-7A3722B43D1B}"/>
              </a:ext>
            </a:extLst>
          </p:cNvPr>
          <p:cNvSpPr/>
          <p:nvPr/>
        </p:nvSpPr>
        <p:spPr>
          <a:xfrm>
            <a:off x="6222791" y="5396969"/>
            <a:ext cx="3879693" cy="64487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pc="-1" dirty="0">
                <a:solidFill>
                  <a:srgbClr val="084112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Symbol" panose="05050102010706020507" pitchFamily="18" charset="2"/>
              </a:rPr>
              <a:t>second hidden layer: 4  8</a:t>
            </a:r>
            <a:r>
              <a:rPr lang="en-US" spc="-1" dirty="0">
                <a:solidFill>
                  <a:srgbClr val="08411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pc="-1" dirty="0">
                <a:solidFill>
                  <a:srgbClr val="084112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Symbol" panose="05050102010706020507" pitchFamily="18" charset="2"/>
              </a:rPr>
              <a:t></a:t>
            </a:r>
            <a:r>
              <a:rPr lang="en-US" spc="-1" dirty="0">
                <a:solidFill>
                  <a:srgbClr val="08411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13 </a:t>
            </a:r>
            <a:r>
              <a:rPr lang="en-US" strike="noStrike" spc="-1" dirty="0">
                <a:solidFill>
                  <a:srgbClr val="08411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eurons</a:t>
            </a:r>
          </a:p>
          <a:p>
            <a:pPr algn="ctr">
              <a:lnSpc>
                <a:spcPct val="100000"/>
              </a:lnSpc>
            </a:pPr>
            <a:r>
              <a:rPr lang="en-US" spc="-1" dirty="0">
                <a:solidFill>
                  <a:srgbClr val="08411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US" b="1" spc="-1" dirty="0">
                <a:solidFill>
                  <a:srgbClr val="08411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ooling layer</a:t>
            </a:r>
            <a:r>
              <a:rPr lang="en-US" spc="-1" dirty="0">
                <a:solidFill>
                  <a:srgbClr val="08411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endParaRPr lang="en-US" strike="noStrike" spc="-1" dirty="0">
              <a:solidFill>
                <a:srgbClr val="08411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4" name="CustomShape 21">
            <a:extLst>
              <a:ext uri="{FF2B5EF4-FFF2-40B4-BE49-F238E27FC236}">
                <a16:creationId xmlns:a16="http://schemas.microsoft.com/office/drawing/2014/main" id="{78AC4467-DE9F-0421-ADCA-FE9926523C15}"/>
              </a:ext>
            </a:extLst>
          </p:cNvPr>
          <p:cNvSpPr/>
          <p:nvPr/>
        </p:nvSpPr>
        <p:spPr>
          <a:xfrm>
            <a:off x="1913899" y="5396969"/>
            <a:ext cx="3725805" cy="367878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pc="-1">
                <a:solidFill>
                  <a:srgbClr val="084112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Symbol" panose="05050102010706020507" pitchFamily="18" charset="2"/>
              </a:rPr>
              <a:t>first hidden layer: 4  </a:t>
            </a:r>
            <a:r>
              <a:rPr lang="en-US" spc="-1">
                <a:solidFill>
                  <a:srgbClr val="08411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6 </a:t>
            </a:r>
            <a:r>
              <a:rPr lang="en-US" spc="-1">
                <a:solidFill>
                  <a:srgbClr val="084112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Symbol" panose="05050102010706020507" pitchFamily="18" charset="2"/>
              </a:rPr>
              <a:t></a:t>
            </a:r>
            <a:r>
              <a:rPr lang="en-US" spc="-1">
                <a:solidFill>
                  <a:srgbClr val="08411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26 </a:t>
            </a:r>
            <a:r>
              <a:rPr lang="en-US" strike="noStrike" spc="-1">
                <a:solidFill>
                  <a:srgbClr val="08411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eurons</a:t>
            </a:r>
          </a:p>
        </p:txBody>
      </p: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49B2DE05-9DC8-0CF2-3D3E-3708468CEE79}"/>
              </a:ext>
            </a:extLst>
          </p:cNvPr>
          <p:cNvCxnSpPr>
            <a:cxnSpLocks/>
          </p:cNvCxnSpPr>
          <p:nvPr/>
        </p:nvCxnSpPr>
        <p:spPr>
          <a:xfrm flipH="1">
            <a:off x="5783253" y="2374329"/>
            <a:ext cx="200298" cy="605775"/>
          </a:xfrm>
          <a:prstGeom prst="straightConnector1">
            <a:avLst/>
          </a:prstGeom>
          <a:noFill/>
          <a:ln>
            <a:solidFill>
              <a:srgbClr val="084112"/>
            </a:solidFill>
            <a:prstDash val="sysDash"/>
            <a:round/>
            <a:tailEnd type="triangle" w="med" len="med"/>
          </a:ln>
          <a:effectLst>
            <a:outerShdw blurRad="40000" dist="20160" dir="5400000" rotWithShape="0">
              <a:srgbClr val="000000">
                <a:alpha val="3800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/>
        </p:style>
      </p:cxnSp>
      <p:sp>
        <p:nvSpPr>
          <p:cNvPr id="36" name="CustomShape 21">
            <a:extLst>
              <a:ext uri="{FF2B5EF4-FFF2-40B4-BE49-F238E27FC236}">
                <a16:creationId xmlns:a16="http://schemas.microsoft.com/office/drawing/2014/main" id="{9A954356-86E1-11FE-AFC0-9FBCCC36089A}"/>
              </a:ext>
            </a:extLst>
          </p:cNvPr>
          <p:cNvSpPr/>
          <p:nvPr/>
        </p:nvSpPr>
        <p:spPr>
          <a:xfrm>
            <a:off x="5582956" y="1854608"/>
            <a:ext cx="2010729" cy="33710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square" lIns="90000" tIns="45000" rIns="90000" bIns="4500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1600" b="1" i="1" spc="-1">
                <a:solidFill>
                  <a:srgbClr val="08411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ax</a:t>
            </a:r>
            <a:r>
              <a:rPr lang="en-US" sz="1600" b="1" spc="-1">
                <a:solidFill>
                  <a:srgbClr val="08411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pooling 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A11317FC-1C9D-153D-94EE-34210A779435}"/>
              </a:ext>
            </a:extLst>
          </p:cNvPr>
          <p:cNvSpPr/>
          <p:nvPr/>
        </p:nvSpPr>
        <p:spPr>
          <a:xfrm>
            <a:off x="5818591" y="2095672"/>
            <a:ext cx="3431323" cy="306323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square" lIns="90000" tIns="45000" rIns="90000" bIns="45000">
            <a:spAutoFit/>
          </a:bodyPr>
          <a:lstStyle/>
          <a:p>
            <a:pPr algn="ctr"/>
            <a:r>
              <a:rPr lang="en-US" sz="1400" spc="-1">
                <a:solidFill>
                  <a:srgbClr val="08411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maximum activation in the  2 </a:t>
            </a:r>
            <a:r>
              <a:rPr lang="en-US" sz="1400" spc="-1">
                <a:solidFill>
                  <a:srgbClr val="084112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Symbol" panose="05050102010706020507" pitchFamily="18" charset="2"/>
              </a:rPr>
              <a:t> </a:t>
            </a:r>
            <a:r>
              <a:rPr lang="en-US" sz="1400" spc="-1">
                <a:solidFill>
                  <a:srgbClr val="08411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 region)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5DC33710-9244-65E5-1139-67133B07F7DB}"/>
              </a:ext>
            </a:extLst>
          </p:cNvPr>
          <p:cNvSpPr/>
          <p:nvPr/>
        </p:nvSpPr>
        <p:spPr>
          <a:xfrm>
            <a:off x="7210527" y="421212"/>
            <a:ext cx="3130339" cy="1252786"/>
          </a:xfrm>
          <a:prstGeom prst="rect">
            <a:avLst/>
          </a:prstGeom>
          <a:noFill/>
          <a:ln>
            <a:solidFill>
              <a:schemeClr val="bg2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9" name="Picture 38">
            <a:extLst>
              <a:ext uri="{FF2B5EF4-FFF2-40B4-BE49-F238E27FC236}">
                <a16:creationId xmlns:a16="http://schemas.microsoft.com/office/drawing/2014/main" id="{7BF7E9A1-CCEE-7737-DD13-B482BE66C91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62273" y="542973"/>
            <a:ext cx="2886528" cy="103624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4406225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 animBg="1"/>
      <p:bldP spid="13" grpId="0" animBg="1"/>
      <p:bldP spid="14" grpId="0" animBg="1"/>
      <p:bldP spid="33" grpId="0"/>
      <p:bldP spid="34" grpId="0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E6EF2DD4-1428-4F29-BED0-012580DEB727}"/>
              </a:ext>
            </a:extLst>
          </p:cNvPr>
          <p:cNvGrpSpPr/>
          <p:nvPr/>
        </p:nvGrpSpPr>
        <p:grpSpPr>
          <a:xfrm>
            <a:off x="1" y="6496048"/>
            <a:ext cx="12192000" cy="381103"/>
            <a:chOff x="-1" y="6496048"/>
            <a:chExt cx="12192001" cy="361952"/>
          </a:xfrm>
        </p:grpSpPr>
        <p:sp>
          <p:nvSpPr>
            <p:cNvPr id="17" name="Dikdörtgen 10">
              <a:extLst>
                <a:ext uri="{FF2B5EF4-FFF2-40B4-BE49-F238E27FC236}">
                  <a16:creationId xmlns:a16="http://schemas.microsoft.com/office/drawing/2014/main" id="{C14596DF-271A-400A-B0AE-693FCDF2F217}"/>
                </a:ext>
              </a:extLst>
            </p:cNvPr>
            <p:cNvSpPr/>
            <p:nvPr/>
          </p:nvSpPr>
          <p:spPr>
            <a:xfrm>
              <a:off x="10115547" y="6496049"/>
              <a:ext cx="2076453" cy="361951"/>
            </a:xfrm>
            <a:prstGeom prst="rect">
              <a:avLst/>
            </a:prstGeom>
            <a:solidFill>
              <a:srgbClr val="2198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dirty="0"/>
                <a:t>   Özgür Martin</a:t>
              </a:r>
            </a:p>
          </p:txBody>
        </p:sp>
        <p:sp>
          <p:nvSpPr>
            <p:cNvPr id="18" name="Dikdörtgen 10">
              <a:extLst>
                <a:ext uri="{FF2B5EF4-FFF2-40B4-BE49-F238E27FC236}">
                  <a16:creationId xmlns:a16="http://schemas.microsoft.com/office/drawing/2014/main" id="{84A5B1F6-64B9-4792-8088-33FD44F5342F}"/>
                </a:ext>
              </a:extLst>
            </p:cNvPr>
            <p:cNvSpPr/>
            <p:nvPr/>
          </p:nvSpPr>
          <p:spPr>
            <a:xfrm>
              <a:off x="-1" y="6496048"/>
              <a:ext cx="10151743" cy="361952"/>
            </a:xfrm>
            <a:prstGeom prst="rect">
              <a:avLst/>
            </a:prstGeom>
            <a:solidFill>
              <a:srgbClr val="2198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altLang="ko-KR" dirty="0" err="1">
                  <a:solidFill>
                    <a:schemeClr val="bg1"/>
                  </a:solidFill>
                  <a:cs typeface="Arial" pitchFamily="34" charset="0"/>
                </a:rPr>
                <a:t>Neural</a:t>
              </a:r>
              <a:r>
                <a:rPr lang="tr-TR" altLang="ko-KR" dirty="0">
                  <a:solidFill>
                    <a:schemeClr val="bg1"/>
                  </a:solidFill>
                  <a:cs typeface="Arial" pitchFamily="34" charset="0"/>
                </a:rPr>
                <a:t> Networks</a:t>
              </a:r>
            </a:p>
          </p:txBody>
        </p:sp>
      </p:grpSp>
      <p:sp>
        <p:nvSpPr>
          <p:cNvPr id="5" name="CustomShape 1">
            <a:extLst>
              <a:ext uri="{FF2B5EF4-FFF2-40B4-BE49-F238E27FC236}">
                <a16:creationId xmlns:a16="http://schemas.microsoft.com/office/drawing/2014/main" id="{AA08AE90-41CD-C288-4CC4-6CA2BE50E324}"/>
              </a:ext>
            </a:extLst>
          </p:cNvPr>
          <p:cNvSpPr/>
          <p:nvPr/>
        </p:nvSpPr>
        <p:spPr>
          <a:xfrm>
            <a:off x="627812" y="432537"/>
            <a:ext cx="8170920" cy="106488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>
            <a:noAutofit/>
          </a:bodyPr>
          <a:lstStyle/>
          <a:p>
            <a:pPr>
              <a:lnSpc>
                <a:spcPts val="3200"/>
              </a:lnSpc>
            </a:pPr>
            <a:r>
              <a:rPr lang="en-US" sz="2800" b="0" strike="noStrike" spc="-1" dirty="0">
                <a:solidFill>
                  <a:srgbClr val="AB3348"/>
                </a:solidFill>
                <a:latin typeface="Times New Roman"/>
                <a:ea typeface="DejaVu Sans"/>
              </a:rPr>
              <a:t>CNN</a:t>
            </a:r>
            <a:r>
              <a:rPr lang="tr-TR" sz="2800" b="0" strike="noStrike" spc="-1" dirty="0">
                <a:solidFill>
                  <a:srgbClr val="AB3348"/>
                </a:solidFill>
                <a:latin typeface="Times New Roman"/>
                <a:ea typeface="DejaVu Sans"/>
              </a:rPr>
              <a:t> – </a:t>
            </a:r>
            <a:r>
              <a:rPr lang="tr-TR" sz="2800" b="0" strike="noStrike" spc="-1" dirty="0" err="1">
                <a:solidFill>
                  <a:srgbClr val="AB3348"/>
                </a:solidFill>
                <a:latin typeface="Times New Roman"/>
                <a:ea typeface="DejaVu Sans"/>
              </a:rPr>
              <a:t>Merging</a:t>
            </a:r>
            <a:r>
              <a:rPr lang="tr-TR" sz="2800" b="0" strike="noStrike" spc="-1" dirty="0">
                <a:solidFill>
                  <a:srgbClr val="AB3348"/>
                </a:solidFill>
                <a:latin typeface="Times New Roman"/>
                <a:ea typeface="DejaVu Sans"/>
              </a:rPr>
              <a:t> </a:t>
            </a:r>
            <a:r>
              <a:rPr lang="tr-TR" sz="2800" b="0" strike="noStrike" spc="-1" dirty="0" err="1">
                <a:solidFill>
                  <a:srgbClr val="AB3348"/>
                </a:solidFill>
                <a:latin typeface="Times New Roman"/>
                <a:ea typeface="DejaVu Sans"/>
              </a:rPr>
              <a:t>Layers</a:t>
            </a:r>
            <a:r>
              <a:rPr lang="tr-TR" sz="2800" b="0" strike="noStrike" spc="-1" dirty="0">
                <a:solidFill>
                  <a:srgbClr val="AB3348"/>
                </a:solidFill>
                <a:latin typeface="Times New Roman"/>
                <a:ea typeface="DejaVu Sans"/>
              </a:rPr>
              <a:t> </a:t>
            </a:r>
            <a:endParaRPr lang="en-US" sz="2800" b="0" strike="noStrike" spc="-1" dirty="0">
              <a:latin typeface="Arial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DC17A2F-3CAE-F69A-DB91-A7691A4155AC}"/>
              </a:ext>
            </a:extLst>
          </p:cNvPr>
          <p:cNvSpPr/>
          <p:nvPr/>
        </p:nvSpPr>
        <p:spPr>
          <a:xfrm>
            <a:off x="5057418" y="2325397"/>
            <a:ext cx="2338926" cy="1705756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ABE6A74-A6B9-9D6B-47D0-4B2377D60EAE}"/>
              </a:ext>
            </a:extLst>
          </p:cNvPr>
          <p:cNvSpPr/>
          <p:nvPr/>
        </p:nvSpPr>
        <p:spPr>
          <a:xfrm>
            <a:off x="5209818" y="2477797"/>
            <a:ext cx="2338926" cy="1705756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EF0F18B-A42E-D7BF-3E86-6A81F04DB1D3}"/>
              </a:ext>
            </a:extLst>
          </p:cNvPr>
          <p:cNvSpPr/>
          <p:nvPr/>
        </p:nvSpPr>
        <p:spPr>
          <a:xfrm>
            <a:off x="5362218" y="2630197"/>
            <a:ext cx="2338926" cy="1705756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FC0ECDD-A7DB-C5DE-BA6E-395C031CDACC}"/>
              </a:ext>
            </a:extLst>
          </p:cNvPr>
          <p:cNvSpPr/>
          <p:nvPr/>
        </p:nvSpPr>
        <p:spPr>
          <a:xfrm>
            <a:off x="5514618" y="2782597"/>
            <a:ext cx="2338926" cy="1705756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5CFE1A3-0F87-9E27-81E0-0F6E4F12E1D6}"/>
              </a:ext>
            </a:extLst>
          </p:cNvPr>
          <p:cNvSpPr/>
          <p:nvPr/>
        </p:nvSpPr>
        <p:spPr>
          <a:xfrm>
            <a:off x="8341532" y="2672362"/>
            <a:ext cx="1449449" cy="1141357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95C8E16-7755-F344-7258-8F38B53BAD19}"/>
              </a:ext>
            </a:extLst>
          </p:cNvPr>
          <p:cNvSpPr/>
          <p:nvPr/>
        </p:nvSpPr>
        <p:spPr>
          <a:xfrm>
            <a:off x="8493932" y="2824762"/>
            <a:ext cx="1449449" cy="1141357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C7111EB-C9B2-E26C-348F-4F20FFE55AF8}"/>
              </a:ext>
            </a:extLst>
          </p:cNvPr>
          <p:cNvSpPr/>
          <p:nvPr/>
        </p:nvSpPr>
        <p:spPr>
          <a:xfrm>
            <a:off x="8646332" y="2977162"/>
            <a:ext cx="1449449" cy="1141357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E1812D4-5E01-4ABD-2C3A-966E269354F2}"/>
              </a:ext>
            </a:extLst>
          </p:cNvPr>
          <p:cNvSpPr/>
          <p:nvPr/>
        </p:nvSpPr>
        <p:spPr>
          <a:xfrm>
            <a:off x="8798732" y="3129562"/>
            <a:ext cx="1449449" cy="1141357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FA1A39DD-E1C1-2AD4-B895-EDA13226F81C}"/>
              </a:ext>
            </a:extLst>
          </p:cNvPr>
          <p:cNvCxnSpPr>
            <a:cxnSpLocks/>
            <a:stCxn id="6" idx="3"/>
            <a:endCxn id="10" idx="1"/>
          </p:cNvCxnSpPr>
          <p:nvPr/>
        </p:nvCxnSpPr>
        <p:spPr>
          <a:xfrm>
            <a:off x="7396344" y="3178275"/>
            <a:ext cx="945188" cy="64766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5839EF25-EB70-3DD6-65A6-DB256943B24A}"/>
              </a:ext>
            </a:extLst>
          </p:cNvPr>
          <p:cNvCxnSpPr>
            <a:cxnSpLocks/>
            <a:stCxn id="7" idx="3"/>
            <a:endCxn id="11" idx="1"/>
          </p:cNvCxnSpPr>
          <p:nvPr/>
        </p:nvCxnSpPr>
        <p:spPr>
          <a:xfrm>
            <a:off x="7548744" y="3330675"/>
            <a:ext cx="945188" cy="64766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D3514BAC-BDDA-7D4E-8FE4-2F793499FB57}"/>
              </a:ext>
            </a:extLst>
          </p:cNvPr>
          <p:cNvCxnSpPr>
            <a:cxnSpLocks/>
            <a:stCxn id="8" idx="3"/>
            <a:endCxn id="12" idx="1"/>
          </p:cNvCxnSpPr>
          <p:nvPr/>
        </p:nvCxnSpPr>
        <p:spPr>
          <a:xfrm>
            <a:off x="7701144" y="3483075"/>
            <a:ext cx="945188" cy="64766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D6A5ED67-E783-0BB7-6E82-B3D4C03AD8CB}"/>
              </a:ext>
            </a:extLst>
          </p:cNvPr>
          <p:cNvCxnSpPr>
            <a:cxnSpLocks/>
            <a:stCxn id="9" idx="3"/>
            <a:endCxn id="13" idx="1"/>
          </p:cNvCxnSpPr>
          <p:nvPr/>
        </p:nvCxnSpPr>
        <p:spPr>
          <a:xfrm>
            <a:off x="7853544" y="3635475"/>
            <a:ext cx="945188" cy="64766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21" name="CustomShape 21">
            <a:extLst>
              <a:ext uri="{FF2B5EF4-FFF2-40B4-BE49-F238E27FC236}">
                <a16:creationId xmlns:a16="http://schemas.microsoft.com/office/drawing/2014/main" id="{C4309C55-8F5A-AE8F-B6BD-5B6A6C8A3BBB}"/>
              </a:ext>
            </a:extLst>
          </p:cNvPr>
          <p:cNvSpPr/>
          <p:nvPr/>
        </p:nvSpPr>
        <p:spPr>
          <a:xfrm>
            <a:off x="8863736" y="4926499"/>
            <a:ext cx="1232045" cy="398655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tr-TR" sz="2000" spc="-1" dirty="0">
                <a:solidFill>
                  <a:srgbClr val="084112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Symbol" panose="05050102010706020507" pitchFamily="18" charset="2"/>
              </a:rPr>
              <a:t>4  8</a:t>
            </a:r>
            <a:r>
              <a:rPr lang="tr-TR" sz="2000" spc="-1" dirty="0">
                <a:solidFill>
                  <a:srgbClr val="08411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tr-TR" sz="2000" spc="-1" dirty="0">
                <a:solidFill>
                  <a:srgbClr val="084112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Symbol" panose="05050102010706020507" pitchFamily="18" charset="2"/>
              </a:rPr>
              <a:t></a:t>
            </a:r>
            <a:r>
              <a:rPr lang="tr-TR" sz="2000" spc="-1" dirty="0">
                <a:solidFill>
                  <a:srgbClr val="08411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13</a:t>
            </a:r>
            <a:endParaRPr lang="tr-TR" sz="2000" strike="noStrike" spc="-1" dirty="0">
              <a:solidFill>
                <a:srgbClr val="08411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2" name="CustomShape 21">
            <a:extLst>
              <a:ext uri="{FF2B5EF4-FFF2-40B4-BE49-F238E27FC236}">
                <a16:creationId xmlns:a16="http://schemas.microsoft.com/office/drawing/2014/main" id="{3B934AD7-9B94-51E8-4B83-A9D25F51F710}"/>
              </a:ext>
            </a:extLst>
          </p:cNvPr>
          <p:cNvSpPr/>
          <p:nvPr/>
        </p:nvSpPr>
        <p:spPr>
          <a:xfrm>
            <a:off x="5851602" y="4926499"/>
            <a:ext cx="1360157" cy="398655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tr-TR" sz="2000" spc="-1" dirty="0">
                <a:solidFill>
                  <a:srgbClr val="084112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Symbol" panose="05050102010706020507" pitchFamily="18" charset="2"/>
              </a:rPr>
              <a:t>4  </a:t>
            </a:r>
            <a:r>
              <a:rPr lang="tr-TR" sz="2000" spc="-1" dirty="0">
                <a:solidFill>
                  <a:srgbClr val="08411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6 </a:t>
            </a:r>
            <a:r>
              <a:rPr lang="tr-TR" sz="2000" spc="-1" dirty="0">
                <a:solidFill>
                  <a:srgbClr val="084112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Symbol" panose="05050102010706020507" pitchFamily="18" charset="2"/>
              </a:rPr>
              <a:t></a:t>
            </a:r>
            <a:r>
              <a:rPr lang="tr-TR" sz="2000" spc="-1" dirty="0">
                <a:solidFill>
                  <a:srgbClr val="08411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26</a:t>
            </a:r>
            <a:endParaRPr lang="tr-TR" sz="2000" strike="noStrike" spc="-1" dirty="0">
              <a:solidFill>
                <a:srgbClr val="08411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287125A-C908-4F8D-6762-BD8661B4C76B}"/>
              </a:ext>
            </a:extLst>
          </p:cNvPr>
          <p:cNvSpPr/>
          <p:nvPr/>
        </p:nvSpPr>
        <p:spPr>
          <a:xfrm>
            <a:off x="1793981" y="2112304"/>
            <a:ext cx="2699344" cy="2138213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5BA90B86-FDA2-195C-72AA-0CB9D98CB728}"/>
              </a:ext>
            </a:extLst>
          </p:cNvPr>
          <p:cNvCxnSpPr>
            <a:cxnSpLocks/>
            <a:stCxn id="23" idx="3"/>
            <a:endCxn id="6" idx="1"/>
          </p:cNvCxnSpPr>
          <p:nvPr/>
        </p:nvCxnSpPr>
        <p:spPr>
          <a:xfrm flipV="1">
            <a:off x="4493325" y="3178275"/>
            <a:ext cx="564093" cy="3136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308AA1DD-E02E-9135-1449-CC6F5F5D9654}"/>
              </a:ext>
            </a:extLst>
          </p:cNvPr>
          <p:cNvCxnSpPr>
            <a:cxnSpLocks/>
            <a:stCxn id="23" idx="3"/>
            <a:endCxn id="7" idx="1"/>
          </p:cNvCxnSpPr>
          <p:nvPr/>
        </p:nvCxnSpPr>
        <p:spPr>
          <a:xfrm>
            <a:off x="4493325" y="3181411"/>
            <a:ext cx="716493" cy="149264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D03C8F46-D2CE-7585-57E1-2E504D081646}"/>
              </a:ext>
            </a:extLst>
          </p:cNvPr>
          <p:cNvCxnSpPr>
            <a:cxnSpLocks/>
            <a:stCxn id="23" idx="3"/>
            <a:endCxn id="8" idx="1"/>
          </p:cNvCxnSpPr>
          <p:nvPr/>
        </p:nvCxnSpPr>
        <p:spPr>
          <a:xfrm>
            <a:off x="4493325" y="3181411"/>
            <a:ext cx="868893" cy="301664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1F1B4D0E-4DFD-DEF7-DAAD-3AA98CF42067}"/>
              </a:ext>
            </a:extLst>
          </p:cNvPr>
          <p:cNvCxnSpPr>
            <a:cxnSpLocks/>
            <a:stCxn id="23" idx="3"/>
            <a:endCxn id="9" idx="1"/>
          </p:cNvCxnSpPr>
          <p:nvPr/>
        </p:nvCxnSpPr>
        <p:spPr>
          <a:xfrm>
            <a:off x="4493325" y="3181411"/>
            <a:ext cx="1021293" cy="454064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28" name="CustomShape 21">
            <a:extLst>
              <a:ext uri="{FF2B5EF4-FFF2-40B4-BE49-F238E27FC236}">
                <a16:creationId xmlns:a16="http://schemas.microsoft.com/office/drawing/2014/main" id="{4C7CA184-2194-B608-7E69-D4BDD1648037}"/>
              </a:ext>
            </a:extLst>
          </p:cNvPr>
          <p:cNvSpPr/>
          <p:nvPr/>
        </p:nvSpPr>
        <p:spPr>
          <a:xfrm>
            <a:off x="2662089" y="4926498"/>
            <a:ext cx="963126" cy="398655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tr-TR" sz="2000" spc="-1" dirty="0">
                <a:solidFill>
                  <a:srgbClr val="08411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 </a:t>
            </a:r>
            <a:r>
              <a:rPr lang="tr-TR" sz="2000" spc="-1" dirty="0">
                <a:solidFill>
                  <a:srgbClr val="084112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Symbol" panose="05050102010706020507" pitchFamily="18" charset="2"/>
              </a:rPr>
              <a:t></a:t>
            </a:r>
            <a:r>
              <a:rPr lang="tr-TR" sz="2000" spc="-1" dirty="0">
                <a:solidFill>
                  <a:srgbClr val="08411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30</a:t>
            </a:r>
            <a:endParaRPr lang="tr-TR" sz="2000" strike="noStrike" spc="-1" dirty="0">
              <a:solidFill>
                <a:srgbClr val="08411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664286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21" grpId="0"/>
      <p:bldP spid="22" grpId="0"/>
      <p:bldP spid="23" grpId="0" animBg="1"/>
      <p:bldP spid="28" grpId="0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E6EF2DD4-1428-4F29-BED0-012580DEB727}"/>
              </a:ext>
            </a:extLst>
          </p:cNvPr>
          <p:cNvGrpSpPr/>
          <p:nvPr/>
        </p:nvGrpSpPr>
        <p:grpSpPr>
          <a:xfrm>
            <a:off x="1" y="6496048"/>
            <a:ext cx="12192000" cy="381103"/>
            <a:chOff x="-1" y="6496048"/>
            <a:chExt cx="12192001" cy="361952"/>
          </a:xfrm>
        </p:grpSpPr>
        <p:sp>
          <p:nvSpPr>
            <p:cNvPr id="17" name="Dikdörtgen 10">
              <a:extLst>
                <a:ext uri="{FF2B5EF4-FFF2-40B4-BE49-F238E27FC236}">
                  <a16:creationId xmlns:a16="http://schemas.microsoft.com/office/drawing/2014/main" id="{C14596DF-271A-400A-B0AE-693FCDF2F217}"/>
                </a:ext>
              </a:extLst>
            </p:cNvPr>
            <p:cNvSpPr/>
            <p:nvPr/>
          </p:nvSpPr>
          <p:spPr>
            <a:xfrm>
              <a:off x="10115547" y="6496049"/>
              <a:ext cx="2076453" cy="361951"/>
            </a:xfrm>
            <a:prstGeom prst="rect">
              <a:avLst/>
            </a:prstGeom>
            <a:solidFill>
              <a:srgbClr val="2198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dirty="0"/>
                <a:t>   Özgür Martin</a:t>
              </a:r>
            </a:p>
          </p:txBody>
        </p:sp>
        <p:sp>
          <p:nvSpPr>
            <p:cNvPr id="18" name="Dikdörtgen 10">
              <a:extLst>
                <a:ext uri="{FF2B5EF4-FFF2-40B4-BE49-F238E27FC236}">
                  <a16:creationId xmlns:a16="http://schemas.microsoft.com/office/drawing/2014/main" id="{84A5B1F6-64B9-4792-8088-33FD44F5342F}"/>
                </a:ext>
              </a:extLst>
            </p:cNvPr>
            <p:cNvSpPr/>
            <p:nvPr/>
          </p:nvSpPr>
          <p:spPr>
            <a:xfrm>
              <a:off x="-1" y="6496048"/>
              <a:ext cx="10151743" cy="361952"/>
            </a:xfrm>
            <a:prstGeom prst="rect">
              <a:avLst/>
            </a:prstGeom>
            <a:solidFill>
              <a:srgbClr val="2198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altLang="ko-KR" dirty="0" err="1">
                  <a:solidFill>
                    <a:schemeClr val="bg1"/>
                  </a:solidFill>
                  <a:cs typeface="Arial" pitchFamily="34" charset="0"/>
                </a:rPr>
                <a:t>Neural</a:t>
              </a:r>
              <a:r>
                <a:rPr lang="tr-TR" altLang="ko-KR" dirty="0">
                  <a:solidFill>
                    <a:schemeClr val="bg1"/>
                  </a:solidFill>
                  <a:cs typeface="Arial" pitchFamily="34" charset="0"/>
                </a:rPr>
                <a:t> Networks</a:t>
              </a:r>
            </a:p>
          </p:txBody>
        </p:sp>
      </p:grpSp>
      <p:sp>
        <p:nvSpPr>
          <p:cNvPr id="5" name="CustomShape 1">
            <a:extLst>
              <a:ext uri="{FF2B5EF4-FFF2-40B4-BE49-F238E27FC236}">
                <a16:creationId xmlns:a16="http://schemas.microsoft.com/office/drawing/2014/main" id="{413EBE81-8016-B8CC-FF0B-029F23A8FD43}"/>
              </a:ext>
            </a:extLst>
          </p:cNvPr>
          <p:cNvSpPr/>
          <p:nvPr/>
        </p:nvSpPr>
        <p:spPr>
          <a:xfrm>
            <a:off x="661134" y="412529"/>
            <a:ext cx="8170920" cy="106488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>
            <a:noAutofit/>
          </a:bodyPr>
          <a:lstStyle/>
          <a:p>
            <a:pPr>
              <a:lnSpc>
                <a:spcPts val="3200"/>
              </a:lnSpc>
            </a:pPr>
            <a:r>
              <a:rPr lang="en-US" sz="2800" b="0" strike="noStrike" spc="-1" dirty="0">
                <a:solidFill>
                  <a:srgbClr val="AB3348"/>
                </a:solidFill>
                <a:latin typeface="Times New Roman"/>
                <a:ea typeface="DejaVu Sans"/>
              </a:rPr>
              <a:t>CNN – Complete Network</a:t>
            </a:r>
            <a:endParaRPr lang="en-US" sz="2800" b="0" strike="noStrike" spc="-1" dirty="0">
              <a:latin typeface="Arial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8D7BCD9-08BC-D01A-C084-9DC9FFF88FA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597716" y="2035907"/>
            <a:ext cx="1540106" cy="1340543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716AC7C3-C2EE-CF0B-A908-EB62FB0825B4}"/>
              </a:ext>
            </a:extLst>
          </p:cNvPr>
          <p:cNvSpPr/>
          <p:nvPr/>
        </p:nvSpPr>
        <p:spPr>
          <a:xfrm>
            <a:off x="8584653" y="1974279"/>
            <a:ext cx="1540105" cy="1449806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CustomShape 21">
            <a:extLst>
              <a:ext uri="{FF2B5EF4-FFF2-40B4-BE49-F238E27FC236}">
                <a16:creationId xmlns:a16="http://schemas.microsoft.com/office/drawing/2014/main" id="{29714084-9CBA-1BF1-C3C7-005ABCD87B27}"/>
              </a:ext>
            </a:extLst>
          </p:cNvPr>
          <p:cNvSpPr/>
          <p:nvPr/>
        </p:nvSpPr>
        <p:spPr>
          <a:xfrm>
            <a:off x="8367345" y="3589321"/>
            <a:ext cx="2154093" cy="64487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b="1" spc="-1" dirty="0">
                <a:solidFill>
                  <a:srgbClr val="084112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Symbol" panose="05050102010706020507" pitchFamily="18" charset="2"/>
              </a:rPr>
              <a:t>classification</a:t>
            </a:r>
          </a:p>
          <a:p>
            <a:pPr algn="ctr">
              <a:lnSpc>
                <a:spcPct val="100000"/>
              </a:lnSpc>
            </a:pPr>
            <a:r>
              <a:rPr lang="en-US" spc="-1" dirty="0">
                <a:solidFill>
                  <a:srgbClr val="084112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Symbol" panose="05050102010706020507" pitchFamily="18" charset="2"/>
              </a:rPr>
              <a:t>(fully connected NN)</a:t>
            </a:r>
            <a:endParaRPr lang="en-US" strike="noStrike" spc="-1" dirty="0">
              <a:solidFill>
                <a:srgbClr val="08411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CustomShape 2">
            <a:extLst>
              <a:ext uri="{FF2B5EF4-FFF2-40B4-BE49-F238E27FC236}">
                <a16:creationId xmlns:a16="http://schemas.microsoft.com/office/drawing/2014/main" id="{9D5F84F8-22DC-CB80-D081-E2136BD88551}"/>
              </a:ext>
            </a:extLst>
          </p:cNvPr>
          <p:cNvSpPr/>
          <p:nvPr/>
        </p:nvSpPr>
        <p:spPr>
          <a:xfrm>
            <a:off x="2136540" y="4320289"/>
            <a:ext cx="8170920" cy="1913593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>
            <a:noAutofit/>
          </a:bodyPr>
          <a:lstStyle/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2000" b="0" strike="noStrike" spc="-1" dirty="0">
                <a:solidFill>
                  <a:srgbClr val="005117"/>
                </a:solidFill>
                <a:latin typeface="Times New Roman"/>
                <a:ea typeface="DejaVu Sans"/>
              </a:rPr>
              <a:t>Common to use</a:t>
            </a:r>
            <a:r>
              <a:rPr lang="tr-TR" sz="2000" b="0" strike="noStrike" spc="-1" dirty="0">
                <a:solidFill>
                  <a:srgbClr val="005117"/>
                </a:solidFill>
                <a:latin typeface="Times New Roman"/>
                <a:ea typeface="DejaVu Sans"/>
              </a:rPr>
              <a:t> </a:t>
            </a:r>
            <a:r>
              <a:rPr lang="tr-TR" sz="2000" b="0" strike="noStrike" spc="-1" dirty="0" err="1">
                <a:solidFill>
                  <a:srgbClr val="005117"/>
                </a:solidFill>
                <a:latin typeface="Times New Roman"/>
                <a:ea typeface="DejaVu Sans"/>
              </a:rPr>
              <a:t>one</a:t>
            </a:r>
            <a:r>
              <a:rPr lang="tr-TR" sz="2000" spc="-1" dirty="0">
                <a:solidFill>
                  <a:srgbClr val="005117"/>
                </a:solidFill>
                <a:latin typeface="Times New Roman"/>
                <a:ea typeface="DejaVu Sans"/>
              </a:rPr>
              <a:t> </a:t>
            </a:r>
            <a:r>
              <a:rPr lang="tr-TR" sz="2000" spc="-1" dirty="0" err="1">
                <a:solidFill>
                  <a:srgbClr val="005117"/>
                </a:solidFill>
                <a:latin typeface="Times New Roman"/>
                <a:ea typeface="DejaVu Sans"/>
              </a:rPr>
              <a:t>layer</a:t>
            </a:r>
            <a:r>
              <a:rPr lang="tr-TR" sz="2000" spc="-1" dirty="0">
                <a:solidFill>
                  <a:srgbClr val="005117"/>
                </a:solidFill>
                <a:latin typeface="Times New Roman"/>
                <a:ea typeface="DejaVu Sans"/>
              </a:rPr>
              <a:t> </a:t>
            </a:r>
            <a:r>
              <a:rPr lang="en-US" sz="2000" b="0" strike="noStrike" spc="-1" dirty="0">
                <a:solidFill>
                  <a:srgbClr val="005117"/>
                </a:solidFill>
                <a:latin typeface="Times New Roman"/>
                <a:ea typeface="DejaVu Sans"/>
              </a:rPr>
              <a:t>for classification in the last stage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2000" spc="-1" dirty="0">
                <a:solidFill>
                  <a:srgbClr val="005117"/>
                </a:solidFill>
                <a:latin typeface="Times New Roman"/>
                <a:ea typeface="DejaVu Sans"/>
              </a:rPr>
              <a:t>There could be multiple convolution layers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2000" spc="-1" dirty="0">
                <a:solidFill>
                  <a:srgbClr val="005117"/>
                </a:solidFill>
                <a:latin typeface="Times New Roman"/>
                <a:ea typeface="DejaVu Sans"/>
              </a:rPr>
              <a:t>Too many matrix or vector multiplications are required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2000" spc="-1" dirty="0">
                <a:solidFill>
                  <a:srgbClr val="005117"/>
                </a:solidFill>
                <a:latin typeface="Times New Roman"/>
                <a:ea typeface="DejaVu Sans"/>
              </a:rPr>
              <a:t>Vectorization along with GPUs are used</a:t>
            </a:r>
            <a:r>
              <a:rPr lang="tr-TR" sz="2000" spc="-1" dirty="0">
                <a:solidFill>
                  <a:srgbClr val="005117"/>
                </a:solidFill>
                <a:latin typeface="Times New Roman"/>
                <a:ea typeface="DejaVu Sans"/>
              </a:rPr>
              <a:t> (</a:t>
            </a:r>
            <a:r>
              <a:rPr lang="tr-TR" sz="2000" spc="-1" dirty="0" err="1">
                <a:solidFill>
                  <a:srgbClr val="005117"/>
                </a:solidFill>
                <a:latin typeface="Times New Roman"/>
                <a:ea typeface="DejaVu Sans"/>
              </a:rPr>
              <a:t>for</a:t>
            </a:r>
            <a:r>
              <a:rPr lang="tr-TR" sz="2000" spc="-1" dirty="0">
                <a:solidFill>
                  <a:srgbClr val="005117"/>
                </a:solidFill>
                <a:latin typeface="Times New Roman"/>
                <a:ea typeface="DejaVu Sans"/>
              </a:rPr>
              <a:t> </a:t>
            </a:r>
            <a:r>
              <a:rPr lang="tr-TR" sz="2000" spc="-1" dirty="0" err="1">
                <a:solidFill>
                  <a:srgbClr val="005117"/>
                </a:solidFill>
                <a:latin typeface="Times New Roman"/>
                <a:ea typeface="DejaVu Sans"/>
              </a:rPr>
              <a:t>all</a:t>
            </a:r>
            <a:r>
              <a:rPr lang="tr-TR" sz="2000" spc="-1" dirty="0">
                <a:solidFill>
                  <a:srgbClr val="005117"/>
                </a:solidFill>
                <a:latin typeface="Times New Roman"/>
                <a:ea typeface="DejaVu Sans"/>
              </a:rPr>
              <a:t> </a:t>
            </a:r>
            <a:r>
              <a:rPr lang="tr-TR" sz="2000" spc="-1" dirty="0" err="1">
                <a:solidFill>
                  <a:srgbClr val="005117"/>
                </a:solidFill>
                <a:latin typeface="Times New Roman"/>
                <a:ea typeface="DejaVu Sans"/>
              </a:rPr>
              <a:t>deep</a:t>
            </a:r>
            <a:r>
              <a:rPr lang="tr-TR" sz="2000" spc="-1" dirty="0">
                <a:solidFill>
                  <a:srgbClr val="005117"/>
                </a:solidFill>
                <a:latin typeface="Times New Roman"/>
                <a:ea typeface="DejaVu Sans"/>
              </a:rPr>
              <a:t> </a:t>
            </a:r>
            <a:r>
              <a:rPr lang="tr-TR" sz="2000" spc="-1" dirty="0" err="1">
                <a:solidFill>
                  <a:srgbClr val="005117"/>
                </a:solidFill>
                <a:latin typeface="Times New Roman"/>
                <a:ea typeface="DejaVu Sans"/>
              </a:rPr>
              <a:t>learning</a:t>
            </a:r>
            <a:r>
              <a:rPr lang="tr-TR" sz="2000" spc="-1" dirty="0">
                <a:solidFill>
                  <a:srgbClr val="005117"/>
                </a:solidFill>
                <a:latin typeface="Times New Roman"/>
                <a:ea typeface="DejaVu Sans"/>
              </a:rPr>
              <a:t> </a:t>
            </a:r>
            <a:r>
              <a:rPr lang="tr-TR" sz="2000" spc="-1" dirty="0" err="1">
                <a:solidFill>
                  <a:srgbClr val="005117"/>
                </a:solidFill>
                <a:latin typeface="Times New Roman"/>
                <a:ea typeface="DejaVu Sans"/>
              </a:rPr>
              <a:t>networks</a:t>
            </a:r>
            <a:r>
              <a:rPr lang="tr-TR" sz="2000" spc="-1" dirty="0">
                <a:solidFill>
                  <a:srgbClr val="005117"/>
                </a:solidFill>
                <a:latin typeface="Times New Roman"/>
                <a:ea typeface="DejaVu Sans"/>
              </a:rPr>
              <a:t>)</a:t>
            </a:r>
            <a:endParaRPr lang="en-US" sz="2000" spc="-1" dirty="0">
              <a:solidFill>
                <a:srgbClr val="005117"/>
              </a:solidFill>
              <a:latin typeface="Times New Roman"/>
              <a:ea typeface="DejaVu Sans"/>
            </a:endParaRPr>
          </a:p>
        </p:txBody>
      </p:sp>
      <p:sp>
        <p:nvSpPr>
          <p:cNvPr id="10" name="Line 15">
            <a:extLst>
              <a:ext uri="{FF2B5EF4-FFF2-40B4-BE49-F238E27FC236}">
                <a16:creationId xmlns:a16="http://schemas.microsoft.com/office/drawing/2014/main" id="{303AB26E-912C-53DE-50B0-EDE9749849E3}"/>
              </a:ext>
            </a:extLst>
          </p:cNvPr>
          <p:cNvSpPr/>
          <p:nvPr/>
        </p:nvSpPr>
        <p:spPr>
          <a:xfrm flipV="1">
            <a:off x="7848236" y="2142291"/>
            <a:ext cx="800100" cy="481693"/>
          </a:xfrm>
          <a:prstGeom prst="line">
            <a:avLst/>
          </a:prstGeom>
          <a:ln>
            <a:solidFill>
              <a:srgbClr val="BA0033"/>
            </a:solidFill>
            <a:round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/>
        </p:style>
      </p:sp>
      <p:sp>
        <p:nvSpPr>
          <p:cNvPr id="11" name="Line 15">
            <a:extLst>
              <a:ext uri="{FF2B5EF4-FFF2-40B4-BE49-F238E27FC236}">
                <a16:creationId xmlns:a16="http://schemas.microsoft.com/office/drawing/2014/main" id="{0EA3F426-0E5E-B8C9-4C52-A596D96ECB00}"/>
              </a:ext>
            </a:extLst>
          </p:cNvPr>
          <p:cNvSpPr/>
          <p:nvPr/>
        </p:nvSpPr>
        <p:spPr>
          <a:xfrm>
            <a:off x="7848236" y="2623982"/>
            <a:ext cx="800100" cy="178501"/>
          </a:xfrm>
          <a:prstGeom prst="line">
            <a:avLst/>
          </a:prstGeom>
          <a:ln>
            <a:solidFill>
              <a:srgbClr val="BA0033"/>
            </a:solidFill>
            <a:round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/>
        </p:style>
      </p:sp>
      <p:sp>
        <p:nvSpPr>
          <p:cNvPr id="12" name="Line 15">
            <a:extLst>
              <a:ext uri="{FF2B5EF4-FFF2-40B4-BE49-F238E27FC236}">
                <a16:creationId xmlns:a16="http://schemas.microsoft.com/office/drawing/2014/main" id="{4B107386-FCE5-8A4F-3E10-602AE5AE2460}"/>
              </a:ext>
            </a:extLst>
          </p:cNvPr>
          <p:cNvSpPr/>
          <p:nvPr/>
        </p:nvSpPr>
        <p:spPr>
          <a:xfrm>
            <a:off x="7848236" y="2623982"/>
            <a:ext cx="821871" cy="563339"/>
          </a:xfrm>
          <a:prstGeom prst="line">
            <a:avLst/>
          </a:prstGeom>
          <a:ln>
            <a:solidFill>
              <a:srgbClr val="BA0033"/>
            </a:solidFill>
            <a:round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/>
        </p:style>
      </p:sp>
      <p:sp>
        <p:nvSpPr>
          <p:cNvPr id="13" name="Line 15">
            <a:extLst>
              <a:ext uri="{FF2B5EF4-FFF2-40B4-BE49-F238E27FC236}">
                <a16:creationId xmlns:a16="http://schemas.microsoft.com/office/drawing/2014/main" id="{49C41C86-CA89-D4E0-CA01-CE7419261201}"/>
              </a:ext>
            </a:extLst>
          </p:cNvPr>
          <p:cNvSpPr/>
          <p:nvPr/>
        </p:nvSpPr>
        <p:spPr>
          <a:xfrm flipV="1">
            <a:off x="7970699" y="2142290"/>
            <a:ext cx="677637" cy="649704"/>
          </a:xfrm>
          <a:prstGeom prst="line">
            <a:avLst/>
          </a:prstGeom>
          <a:ln>
            <a:solidFill>
              <a:srgbClr val="BA0033"/>
            </a:solidFill>
            <a:round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/>
        </p:style>
      </p:sp>
      <p:sp>
        <p:nvSpPr>
          <p:cNvPr id="14" name="Line 15">
            <a:extLst>
              <a:ext uri="{FF2B5EF4-FFF2-40B4-BE49-F238E27FC236}">
                <a16:creationId xmlns:a16="http://schemas.microsoft.com/office/drawing/2014/main" id="{232749CB-552A-B38D-AA8A-2DC3227AF4B1}"/>
              </a:ext>
            </a:extLst>
          </p:cNvPr>
          <p:cNvSpPr/>
          <p:nvPr/>
        </p:nvSpPr>
        <p:spPr>
          <a:xfrm>
            <a:off x="7970700" y="2791994"/>
            <a:ext cx="677636" cy="10489"/>
          </a:xfrm>
          <a:prstGeom prst="line">
            <a:avLst/>
          </a:prstGeom>
          <a:ln>
            <a:solidFill>
              <a:srgbClr val="BA0033"/>
            </a:solidFill>
            <a:round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/>
        </p:style>
      </p:sp>
      <p:sp>
        <p:nvSpPr>
          <p:cNvPr id="15" name="Line 15">
            <a:extLst>
              <a:ext uri="{FF2B5EF4-FFF2-40B4-BE49-F238E27FC236}">
                <a16:creationId xmlns:a16="http://schemas.microsoft.com/office/drawing/2014/main" id="{D0CC665A-C599-81B7-90E7-373A71B14CC8}"/>
              </a:ext>
            </a:extLst>
          </p:cNvPr>
          <p:cNvSpPr/>
          <p:nvPr/>
        </p:nvSpPr>
        <p:spPr>
          <a:xfrm>
            <a:off x="7970700" y="2791994"/>
            <a:ext cx="699407" cy="395327"/>
          </a:xfrm>
          <a:prstGeom prst="line">
            <a:avLst/>
          </a:prstGeom>
          <a:ln>
            <a:solidFill>
              <a:srgbClr val="BA0033"/>
            </a:solidFill>
            <a:round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/>
        </p:style>
      </p:sp>
      <p:sp>
        <p:nvSpPr>
          <p:cNvPr id="19" name="Line 15">
            <a:extLst>
              <a:ext uri="{FF2B5EF4-FFF2-40B4-BE49-F238E27FC236}">
                <a16:creationId xmlns:a16="http://schemas.microsoft.com/office/drawing/2014/main" id="{EF1547AF-C245-7925-D3E4-7F687AC9063A}"/>
              </a:ext>
            </a:extLst>
          </p:cNvPr>
          <p:cNvSpPr/>
          <p:nvPr/>
        </p:nvSpPr>
        <p:spPr>
          <a:xfrm flipV="1">
            <a:off x="8086355" y="2142290"/>
            <a:ext cx="561981" cy="802104"/>
          </a:xfrm>
          <a:prstGeom prst="line">
            <a:avLst/>
          </a:prstGeom>
          <a:ln>
            <a:solidFill>
              <a:srgbClr val="BA0033"/>
            </a:solidFill>
            <a:round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/>
        </p:style>
      </p:sp>
      <p:sp>
        <p:nvSpPr>
          <p:cNvPr id="20" name="Line 15">
            <a:extLst>
              <a:ext uri="{FF2B5EF4-FFF2-40B4-BE49-F238E27FC236}">
                <a16:creationId xmlns:a16="http://schemas.microsoft.com/office/drawing/2014/main" id="{EDE9375F-34DA-67DB-7301-1D42D02E2A17}"/>
              </a:ext>
            </a:extLst>
          </p:cNvPr>
          <p:cNvSpPr/>
          <p:nvPr/>
        </p:nvSpPr>
        <p:spPr>
          <a:xfrm flipV="1">
            <a:off x="8086356" y="2802483"/>
            <a:ext cx="561980" cy="141911"/>
          </a:xfrm>
          <a:prstGeom prst="line">
            <a:avLst/>
          </a:prstGeom>
          <a:ln>
            <a:solidFill>
              <a:srgbClr val="BA0033"/>
            </a:solidFill>
            <a:round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/>
        </p:style>
      </p:sp>
      <p:sp>
        <p:nvSpPr>
          <p:cNvPr id="21" name="Line 15">
            <a:extLst>
              <a:ext uri="{FF2B5EF4-FFF2-40B4-BE49-F238E27FC236}">
                <a16:creationId xmlns:a16="http://schemas.microsoft.com/office/drawing/2014/main" id="{BF7D608F-2C09-82C3-517F-D9510B985E0D}"/>
              </a:ext>
            </a:extLst>
          </p:cNvPr>
          <p:cNvSpPr/>
          <p:nvPr/>
        </p:nvSpPr>
        <p:spPr>
          <a:xfrm>
            <a:off x="8086356" y="2944394"/>
            <a:ext cx="575043" cy="241173"/>
          </a:xfrm>
          <a:prstGeom prst="line">
            <a:avLst/>
          </a:prstGeom>
          <a:ln>
            <a:solidFill>
              <a:srgbClr val="BA0033"/>
            </a:solidFill>
            <a:round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/>
        </p:style>
      </p:sp>
      <p:sp>
        <p:nvSpPr>
          <p:cNvPr id="22" name="Line 15">
            <a:extLst>
              <a:ext uri="{FF2B5EF4-FFF2-40B4-BE49-F238E27FC236}">
                <a16:creationId xmlns:a16="http://schemas.microsoft.com/office/drawing/2014/main" id="{B165CE61-05DC-40EF-CA97-F945620420E0}"/>
              </a:ext>
            </a:extLst>
          </p:cNvPr>
          <p:cNvSpPr/>
          <p:nvPr/>
        </p:nvSpPr>
        <p:spPr>
          <a:xfrm flipV="1">
            <a:off x="8199291" y="2142290"/>
            <a:ext cx="449045" cy="954504"/>
          </a:xfrm>
          <a:prstGeom prst="line">
            <a:avLst/>
          </a:prstGeom>
          <a:ln>
            <a:solidFill>
              <a:srgbClr val="BA0033"/>
            </a:solidFill>
            <a:round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/>
        </p:style>
      </p:sp>
      <p:sp>
        <p:nvSpPr>
          <p:cNvPr id="23" name="Line 15">
            <a:extLst>
              <a:ext uri="{FF2B5EF4-FFF2-40B4-BE49-F238E27FC236}">
                <a16:creationId xmlns:a16="http://schemas.microsoft.com/office/drawing/2014/main" id="{84F02E2D-7926-79AD-02FF-A3E271FBE2DB}"/>
              </a:ext>
            </a:extLst>
          </p:cNvPr>
          <p:cNvSpPr/>
          <p:nvPr/>
        </p:nvSpPr>
        <p:spPr>
          <a:xfrm flipV="1">
            <a:off x="8199292" y="2800728"/>
            <a:ext cx="449044" cy="296065"/>
          </a:xfrm>
          <a:prstGeom prst="line">
            <a:avLst/>
          </a:prstGeom>
          <a:ln>
            <a:solidFill>
              <a:srgbClr val="BA0033"/>
            </a:solidFill>
            <a:round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/>
        </p:style>
      </p:sp>
      <p:sp>
        <p:nvSpPr>
          <p:cNvPr id="24" name="Line 15">
            <a:extLst>
              <a:ext uri="{FF2B5EF4-FFF2-40B4-BE49-F238E27FC236}">
                <a16:creationId xmlns:a16="http://schemas.microsoft.com/office/drawing/2014/main" id="{7561EF88-022E-3DBD-5EB0-62A6193D27FE}"/>
              </a:ext>
            </a:extLst>
          </p:cNvPr>
          <p:cNvSpPr/>
          <p:nvPr/>
        </p:nvSpPr>
        <p:spPr>
          <a:xfrm>
            <a:off x="8199292" y="3096794"/>
            <a:ext cx="462107" cy="88773"/>
          </a:xfrm>
          <a:prstGeom prst="line">
            <a:avLst/>
          </a:prstGeom>
          <a:ln>
            <a:solidFill>
              <a:srgbClr val="BA0033"/>
            </a:solidFill>
            <a:round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/>
        </p:style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1E03258-E9DE-C9C7-7F56-5536336009FF}"/>
              </a:ext>
            </a:extLst>
          </p:cNvPr>
          <p:cNvSpPr/>
          <p:nvPr/>
        </p:nvSpPr>
        <p:spPr>
          <a:xfrm>
            <a:off x="7092306" y="3589321"/>
            <a:ext cx="91473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spc="-1" dirty="0">
                <a:solidFill>
                  <a:srgbClr val="08411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ooling</a:t>
            </a:r>
            <a:endParaRPr lang="en-US" dirty="0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EE4EC96A-8CB1-5047-6F5F-3D9D976C92DF}"/>
              </a:ext>
            </a:extLst>
          </p:cNvPr>
          <p:cNvSpPr/>
          <p:nvPr/>
        </p:nvSpPr>
        <p:spPr>
          <a:xfrm>
            <a:off x="4884583" y="3589321"/>
            <a:ext cx="133741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tr-TR" b="1" spc="-1" dirty="0" err="1">
                <a:solidFill>
                  <a:srgbClr val="08411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nvolution</a:t>
            </a:r>
            <a:endParaRPr lang="en-US" dirty="0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9F5EFA51-D069-A23D-701F-38B4D861641A}"/>
              </a:ext>
            </a:extLst>
          </p:cNvPr>
          <p:cNvSpPr/>
          <p:nvPr/>
        </p:nvSpPr>
        <p:spPr>
          <a:xfrm>
            <a:off x="2651035" y="3589321"/>
            <a:ext cx="70981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tr-TR" b="1" spc="-1" dirty="0" err="1">
                <a:solidFill>
                  <a:srgbClr val="08411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put</a:t>
            </a:r>
            <a:endParaRPr lang="en-US" dirty="0"/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AECF19BF-5C67-98AC-2E3A-FEE265D774D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86182" y="1838975"/>
            <a:ext cx="6098819" cy="172310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130512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E6EF2DD4-1428-4F29-BED0-012580DEB727}"/>
              </a:ext>
            </a:extLst>
          </p:cNvPr>
          <p:cNvGrpSpPr/>
          <p:nvPr/>
        </p:nvGrpSpPr>
        <p:grpSpPr>
          <a:xfrm>
            <a:off x="1" y="6496048"/>
            <a:ext cx="12192000" cy="381103"/>
            <a:chOff x="-1" y="6496048"/>
            <a:chExt cx="12192001" cy="361952"/>
          </a:xfrm>
        </p:grpSpPr>
        <p:sp>
          <p:nvSpPr>
            <p:cNvPr id="17" name="Dikdörtgen 10">
              <a:extLst>
                <a:ext uri="{FF2B5EF4-FFF2-40B4-BE49-F238E27FC236}">
                  <a16:creationId xmlns:a16="http://schemas.microsoft.com/office/drawing/2014/main" id="{C14596DF-271A-400A-B0AE-693FCDF2F217}"/>
                </a:ext>
              </a:extLst>
            </p:cNvPr>
            <p:cNvSpPr/>
            <p:nvPr/>
          </p:nvSpPr>
          <p:spPr>
            <a:xfrm>
              <a:off x="10115547" y="6496049"/>
              <a:ext cx="2076453" cy="361951"/>
            </a:xfrm>
            <a:prstGeom prst="rect">
              <a:avLst/>
            </a:prstGeom>
            <a:solidFill>
              <a:srgbClr val="2198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dirty="0"/>
                <a:t>   Özgür Martin</a:t>
              </a:r>
            </a:p>
          </p:txBody>
        </p:sp>
        <p:sp>
          <p:nvSpPr>
            <p:cNvPr id="18" name="Dikdörtgen 10">
              <a:extLst>
                <a:ext uri="{FF2B5EF4-FFF2-40B4-BE49-F238E27FC236}">
                  <a16:creationId xmlns:a16="http://schemas.microsoft.com/office/drawing/2014/main" id="{84A5B1F6-64B9-4792-8088-33FD44F5342F}"/>
                </a:ext>
              </a:extLst>
            </p:cNvPr>
            <p:cNvSpPr/>
            <p:nvPr/>
          </p:nvSpPr>
          <p:spPr>
            <a:xfrm>
              <a:off x="-1" y="6496048"/>
              <a:ext cx="10151743" cy="361952"/>
            </a:xfrm>
            <a:prstGeom prst="rect">
              <a:avLst/>
            </a:prstGeom>
            <a:solidFill>
              <a:srgbClr val="2198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altLang="ko-KR" dirty="0" err="1">
                  <a:solidFill>
                    <a:schemeClr val="bg1"/>
                  </a:solidFill>
                  <a:cs typeface="Arial" pitchFamily="34" charset="0"/>
                </a:rPr>
                <a:t>Neural</a:t>
              </a:r>
              <a:r>
                <a:rPr lang="tr-TR" altLang="ko-KR" dirty="0">
                  <a:solidFill>
                    <a:schemeClr val="bg1"/>
                  </a:solidFill>
                  <a:cs typeface="Arial" pitchFamily="34" charset="0"/>
                </a:rPr>
                <a:t> Networks</a:t>
              </a:r>
            </a:p>
          </p:txBody>
        </p:sp>
      </p:grpSp>
      <p:sp>
        <p:nvSpPr>
          <p:cNvPr id="5" name="CustomShape 1">
            <a:extLst>
              <a:ext uri="{FF2B5EF4-FFF2-40B4-BE49-F238E27FC236}">
                <a16:creationId xmlns:a16="http://schemas.microsoft.com/office/drawing/2014/main" id="{EACE197A-D232-D523-3CAF-9EBBE76BE889}"/>
              </a:ext>
            </a:extLst>
          </p:cNvPr>
          <p:cNvSpPr/>
          <p:nvPr/>
        </p:nvSpPr>
        <p:spPr>
          <a:xfrm>
            <a:off x="681974" y="316515"/>
            <a:ext cx="8170920" cy="106488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>
            <a:noAutofit/>
          </a:bodyPr>
          <a:lstStyle/>
          <a:p>
            <a:pPr>
              <a:lnSpc>
                <a:spcPts val="3200"/>
              </a:lnSpc>
            </a:pPr>
            <a:r>
              <a:rPr lang="en-US" sz="2800" b="0" strike="noStrike" spc="-1" dirty="0">
                <a:solidFill>
                  <a:srgbClr val="AB3348"/>
                </a:solidFill>
                <a:latin typeface="Times New Roman"/>
                <a:ea typeface="DejaVu Sans"/>
              </a:rPr>
              <a:t>CNN</a:t>
            </a:r>
            <a:r>
              <a:rPr lang="tr-TR" sz="2800" b="0" strike="noStrike" spc="-1" dirty="0">
                <a:solidFill>
                  <a:srgbClr val="AB3348"/>
                </a:solidFill>
                <a:latin typeface="Times New Roman"/>
                <a:ea typeface="DejaVu Sans"/>
              </a:rPr>
              <a:t> – Object </a:t>
            </a:r>
            <a:r>
              <a:rPr lang="tr-TR" sz="2800" b="0" strike="noStrike" spc="-1" dirty="0" err="1">
                <a:solidFill>
                  <a:srgbClr val="AB3348"/>
                </a:solidFill>
                <a:latin typeface="Times New Roman"/>
                <a:ea typeface="DejaVu Sans"/>
              </a:rPr>
              <a:t>Recognition</a:t>
            </a:r>
            <a:endParaRPr lang="en-US" sz="2800" b="0" strike="noStrike" spc="-1" dirty="0">
              <a:latin typeface="Arial"/>
            </a:endParaRPr>
          </a:p>
        </p:txBody>
      </p:sp>
      <p:pic>
        <p:nvPicPr>
          <p:cNvPr id="6" name="Picture 5" descr="A close up of a map&#10;&#10;Description automatically generated">
            <a:extLst>
              <a:ext uri="{FF2B5EF4-FFF2-40B4-BE49-F238E27FC236}">
                <a16:creationId xmlns:a16="http://schemas.microsoft.com/office/drawing/2014/main" id="{BC6A8908-4E42-74AB-EE96-0E5CEEFE2CF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78721" y="934207"/>
            <a:ext cx="3412930" cy="554991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EAD88019-C78C-2D0F-627A-066AF822A310}"/>
              </a:ext>
            </a:extLst>
          </p:cNvPr>
          <p:cNvSpPr txBox="1"/>
          <p:nvPr/>
        </p:nvSpPr>
        <p:spPr>
          <a:xfrm>
            <a:off x="8568757" y="5942585"/>
            <a:ext cx="7729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noProof="1">
                <a:solidFill>
                  <a:srgbClr val="AB3348"/>
                </a:solidFill>
                <a:latin typeface="Times New Roman"/>
                <a:cs typeface="Times New Roman"/>
              </a:rPr>
              <a:t>(</a:t>
            </a:r>
            <a:r>
              <a:rPr lang="en-US" sz="1400" noProof="1">
                <a:solidFill>
                  <a:srgbClr val="FF0000"/>
                </a:solidFill>
                <a:latin typeface="Times New Roman"/>
                <a:cs typeface="Times New Roman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ource</a:t>
            </a:r>
            <a:r>
              <a:rPr lang="en-US" sz="1400" noProof="1">
                <a:solidFill>
                  <a:srgbClr val="AB3348"/>
                </a:solidFill>
                <a:latin typeface="Times New Roman"/>
                <a:cs typeface="Times New Roman"/>
              </a:rPr>
              <a:t>)</a:t>
            </a:r>
            <a:endParaRPr lang="en-US" sz="1400" baseline="30000" noProof="1">
              <a:solidFill>
                <a:srgbClr val="AB3348"/>
              </a:solidFill>
              <a:latin typeface="Times New Roman"/>
              <a:cs typeface="Times New Roman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88526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E6EF2DD4-1428-4F29-BED0-012580DEB727}"/>
              </a:ext>
            </a:extLst>
          </p:cNvPr>
          <p:cNvGrpSpPr/>
          <p:nvPr/>
        </p:nvGrpSpPr>
        <p:grpSpPr>
          <a:xfrm>
            <a:off x="1" y="6496048"/>
            <a:ext cx="12192000" cy="381103"/>
            <a:chOff x="-1" y="6496048"/>
            <a:chExt cx="12192001" cy="361952"/>
          </a:xfrm>
        </p:grpSpPr>
        <p:sp>
          <p:nvSpPr>
            <p:cNvPr id="17" name="Dikdörtgen 10">
              <a:extLst>
                <a:ext uri="{FF2B5EF4-FFF2-40B4-BE49-F238E27FC236}">
                  <a16:creationId xmlns:a16="http://schemas.microsoft.com/office/drawing/2014/main" id="{C14596DF-271A-400A-B0AE-693FCDF2F217}"/>
                </a:ext>
              </a:extLst>
            </p:cNvPr>
            <p:cNvSpPr/>
            <p:nvPr/>
          </p:nvSpPr>
          <p:spPr>
            <a:xfrm>
              <a:off x="10115547" y="6496049"/>
              <a:ext cx="2076453" cy="361951"/>
            </a:xfrm>
            <a:prstGeom prst="rect">
              <a:avLst/>
            </a:prstGeom>
            <a:solidFill>
              <a:srgbClr val="2198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dirty="0"/>
                <a:t>   Özgür Martin</a:t>
              </a:r>
            </a:p>
          </p:txBody>
        </p:sp>
        <p:sp>
          <p:nvSpPr>
            <p:cNvPr id="18" name="Dikdörtgen 10">
              <a:extLst>
                <a:ext uri="{FF2B5EF4-FFF2-40B4-BE49-F238E27FC236}">
                  <a16:creationId xmlns:a16="http://schemas.microsoft.com/office/drawing/2014/main" id="{84A5B1F6-64B9-4792-8088-33FD44F5342F}"/>
                </a:ext>
              </a:extLst>
            </p:cNvPr>
            <p:cNvSpPr/>
            <p:nvPr/>
          </p:nvSpPr>
          <p:spPr>
            <a:xfrm>
              <a:off x="-1" y="6496048"/>
              <a:ext cx="10151743" cy="361952"/>
            </a:xfrm>
            <a:prstGeom prst="rect">
              <a:avLst/>
            </a:prstGeom>
            <a:solidFill>
              <a:srgbClr val="2198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altLang="ko-KR" dirty="0" err="1">
                  <a:solidFill>
                    <a:schemeClr val="bg1"/>
                  </a:solidFill>
                  <a:cs typeface="Arial" pitchFamily="34" charset="0"/>
                </a:rPr>
                <a:t>Neural</a:t>
              </a:r>
              <a:r>
                <a:rPr lang="tr-TR" altLang="ko-KR" dirty="0">
                  <a:solidFill>
                    <a:schemeClr val="bg1"/>
                  </a:solidFill>
                  <a:cs typeface="Arial" pitchFamily="34" charset="0"/>
                </a:rPr>
                <a:t> Networks</a:t>
              </a:r>
            </a:p>
          </p:txBody>
        </p:sp>
      </p:grpSp>
      <p:sp>
        <p:nvSpPr>
          <p:cNvPr id="5" name="CustomShape 1">
            <a:extLst>
              <a:ext uri="{FF2B5EF4-FFF2-40B4-BE49-F238E27FC236}">
                <a16:creationId xmlns:a16="http://schemas.microsoft.com/office/drawing/2014/main" id="{D082C925-BD97-A8B9-4913-2CEF6C22762D}"/>
              </a:ext>
            </a:extLst>
          </p:cNvPr>
          <p:cNvSpPr/>
          <p:nvPr/>
        </p:nvSpPr>
        <p:spPr>
          <a:xfrm>
            <a:off x="769116" y="340432"/>
            <a:ext cx="8170920" cy="106488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>
            <a:noAutofit/>
          </a:bodyPr>
          <a:lstStyle/>
          <a:p>
            <a:pPr>
              <a:lnSpc>
                <a:spcPts val="3200"/>
              </a:lnSpc>
            </a:pPr>
            <a:r>
              <a:rPr lang="en-US" sz="2800" b="0" strike="noStrike" spc="-1" dirty="0">
                <a:solidFill>
                  <a:srgbClr val="AB3348"/>
                </a:solidFill>
                <a:latin typeface="Times New Roman"/>
                <a:ea typeface="DejaVu Sans"/>
              </a:rPr>
              <a:t>Binary Classification Example</a:t>
            </a:r>
            <a:endParaRPr lang="en-US" sz="2800" b="0" strike="noStrike" spc="-1" dirty="0">
              <a:latin typeface="Arial"/>
            </a:endParaRPr>
          </a:p>
        </p:txBody>
      </p:sp>
      <p:sp>
        <p:nvSpPr>
          <p:cNvPr id="6" name="CustomShape 2">
            <a:extLst>
              <a:ext uri="{FF2B5EF4-FFF2-40B4-BE49-F238E27FC236}">
                <a16:creationId xmlns:a16="http://schemas.microsoft.com/office/drawing/2014/main" id="{C3D2D1EB-669D-C713-8FA0-910E4E9B0ED0}"/>
              </a:ext>
            </a:extLst>
          </p:cNvPr>
          <p:cNvSpPr/>
          <p:nvPr/>
        </p:nvSpPr>
        <p:spPr>
          <a:xfrm>
            <a:off x="2318982" y="2106567"/>
            <a:ext cx="290520" cy="290520"/>
          </a:xfrm>
          <a:prstGeom prst="ellipse">
            <a:avLst/>
          </a:prstGeom>
          <a:ln>
            <a:rou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/>
        </p:style>
      </p:sp>
      <p:sp>
        <p:nvSpPr>
          <p:cNvPr id="7" name="CustomShape 3">
            <a:extLst>
              <a:ext uri="{FF2B5EF4-FFF2-40B4-BE49-F238E27FC236}">
                <a16:creationId xmlns:a16="http://schemas.microsoft.com/office/drawing/2014/main" id="{A893FA8C-A09A-D968-A179-F73179E7ED54}"/>
              </a:ext>
            </a:extLst>
          </p:cNvPr>
          <p:cNvSpPr/>
          <p:nvPr/>
        </p:nvSpPr>
        <p:spPr>
          <a:xfrm>
            <a:off x="2318982" y="3032847"/>
            <a:ext cx="290520" cy="290520"/>
          </a:xfrm>
          <a:prstGeom prst="ellipse">
            <a:avLst/>
          </a:prstGeom>
          <a:ln>
            <a:rou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/>
        </p:style>
      </p:sp>
      <p:sp>
        <p:nvSpPr>
          <p:cNvPr id="8" name="CustomShape 4">
            <a:extLst>
              <a:ext uri="{FF2B5EF4-FFF2-40B4-BE49-F238E27FC236}">
                <a16:creationId xmlns:a16="http://schemas.microsoft.com/office/drawing/2014/main" id="{09A5A18B-CAE4-C9CF-FB0A-48B113B1D435}"/>
              </a:ext>
            </a:extLst>
          </p:cNvPr>
          <p:cNvSpPr/>
          <p:nvPr/>
        </p:nvSpPr>
        <p:spPr>
          <a:xfrm>
            <a:off x="3751062" y="2019447"/>
            <a:ext cx="290520" cy="290520"/>
          </a:xfrm>
          <a:prstGeom prst="ellipse">
            <a:avLst/>
          </a:prstGeom>
          <a:ln>
            <a:rou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/>
        </p:style>
      </p:sp>
      <p:sp>
        <p:nvSpPr>
          <p:cNvPr id="9" name="CustomShape 5">
            <a:extLst>
              <a:ext uri="{FF2B5EF4-FFF2-40B4-BE49-F238E27FC236}">
                <a16:creationId xmlns:a16="http://schemas.microsoft.com/office/drawing/2014/main" id="{C6D214ED-4721-D7DB-EEE7-263B2D210E42}"/>
              </a:ext>
            </a:extLst>
          </p:cNvPr>
          <p:cNvSpPr/>
          <p:nvPr/>
        </p:nvSpPr>
        <p:spPr>
          <a:xfrm>
            <a:off x="5037342" y="2887047"/>
            <a:ext cx="290520" cy="290520"/>
          </a:xfrm>
          <a:prstGeom prst="ellipse">
            <a:avLst/>
          </a:prstGeom>
          <a:ln>
            <a:rou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/>
        </p:style>
      </p:sp>
      <p:sp>
        <p:nvSpPr>
          <p:cNvPr id="10" name="CustomShape 6">
            <a:extLst>
              <a:ext uri="{FF2B5EF4-FFF2-40B4-BE49-F238E27FC236}">
                <a16:creationId xmlns:a16="http://schemas.microsoft.com/office/drawing/2014/main" id="{25B8EF30-C24A-3084-02B7-F3E9ACD02BA8}"/>
              </a:ext>
            </a:extLst>
          </p:cNvPr>
          <p:cNvSpPr/>
          <p:nvPr/>
        </p:nvSpPr>
        <p:spPr>
          <a:xfrm>
            <a:off x="3751062" y="3055887"/>
            <a:ext cx="290520" cy="290520"/>
          </a:xfrm>
          <a:prstGeom prst="ellipse">
            <a:avLst/>
          </a:prstGeom>
          <a:ln>
            <a:rou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/>
        </p:style>
      </p:sp>
      <p:sp>
        <p:nvSpPr>
          <p:cNvPr id="11" name="Line 7">
            <a:extLst>
              <a:ext uri="{FF2B5EF4-FFF2-40B4-BE49-F238E27FC236}">
                <a16:creationId xmlns:a16="http://schemas.microsoft.com/office/drawing/2014/main" id="{716A5729-B6F4-8E24-1DAF-9F70D305D17D}"/>
              </a:ext>
            </a:extLst>
          </p:cNvPr>
          <p:cNvSpPr/>
          <p:nvPr/>
        </p:nvSpPr>
        <p:spPr>
          <a:xfrm flipV="1">
            <a:off x="2610582" y="2165247"/>
            <a:ext cx="1140480" cy="87120"/>
          </a:xfrm>
          <a:prstGeom prst="line">
            <a:avLst/>
          </a:prstGeom>
          <a:ln>
            <a:solidFill>
              <a:srgbClr val="BA0033"/>
            </a:solidFill>
            <a:round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/>
        </p:style>
      </p:sp>
      <p:sp>
        <p:nvSpPr>
          <p:cNvPr id="12" name="Line 8">
            <a:extLst>
              <a:ext uri="{FF2B5EF4-FFF2-40B4-BE49-F238E27FC236}">
                <a16:creationId xmlns:a16="http://schemas.microsoft.com/office/drawing/2014/main" id="{10005694-C093-D4AD-98C6-31F8F0D9F0CA}"/>
              </a:ext>
            </a:extLst>
          </p:cNvPr>
          <p:cNvSpPr/>
          <p:nvPr/>
        </p:nvSpPr>
        <p:spPr>
          <a:xfrm>
            <a:off x="2610582" y="2252367"/>
            <a:ext cx="1140480" cy="949320"/>
          </a:xfrm>
          <a:prstGeom prst="line">
            <a:avLst/>
          </a:prstGeom>
          <a:ln>
            <a:solidFill>
              <a:srgbClr val="BA0033"/>
            </a:solidFill>
            <a:round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/>
        </p:style>
      </p:sp>
      <p:sp>
        <p:nvSpPr>
          <p:cNvPr id="13" name="Line 9">
            <a:extLst>
              <a:ext uri="{FF2B5EF4-FFF2-40B4-BE49-F238E27FC236}">
                <a16:creationId xmlns:a16="http://schemas.microsoft.com/office/drawing/2014/main" id="{529BFCDD-8190-9CF1-37BA-020E61C217FD}"/>
              </a:ext>
            </a:extLst>
          </p:cNvPr>
          <p:cNvSpPr/>
          <p:nvPr/>
        </p:nvSpPr>
        <p:spPr>
          <a:xfrm flipV="1">
            <a:off x="2610582" y="2165247"/>
            <a:ext cx="1140480" cy="1013400"/>
          </a:xfrm>
          <a:prstGeom prst="line">
            <a:avLst/>
          </a:prstGeom>
          <a:ln>
            <a:solidFill>
              <a:srgbClr val="BA0033"/>
            </a:solidFill>
            <a:round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/>
        </p:style>
      </p:sp>
      <p:sp>
        <p:nvSpPr>
          <p:cNvPr id="14" name="Line 10">
            <a:extLst>
              <a:ext uri="{FF2B5EF4-FFF2-40B4-BE49-F238E27FC236}">
                <a16:creationId xmlns:a16="http://schemas.microsoft.com/office/drawing/2014/main" id="{482E50DF-A56C-3B7E-CCEE-1943293CFBD3}"/>
              </a:ext>
            </a:extLst>
          </p:cNvPr>
          <p:cNvSpPr/>
          <p:nvPr/>
        </p:nvSpPr>
        <p:spPr>
          <a:xfrm>
            <a:off x="2610582" y="3178647"/>
            <a:ext cx="1140480" cy="23040"/>
          </a:xfrm>
          <a:prstGeom prst="line">
            <a:avLst/>
          </a:prstGeom>
          <a:ln>
            <a:solidFill>
              <a:srgbClr val="BA0033"/>
            </a:solidFill>
            <a:round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/>
        </p:style>
      </p:sp>
      <p:sp>
        <p:nvSpPr>
          <p:cNvPr id="15" name="Line 11">
            <a:extLst>
              <a:ext uri="{FF2B5EF4-FFF2-40B4-BE49-F238E27FC236}">
                <a16:creationId xmlns:a16="http://schemas.microsoft.com/office/drawing/2014/main" id="{80746AA7-0A10-38DE-4792-101BDDF7660C}"/>
              </a:ext>
            </a:extLst>
          </p:cNvPr>
          <p:cNvSpPr/>
          <p:nvPr/>
        </p:nvSpPr>
        <p:spPr>
          <a:xfrm>
            <a:off x="4042662" y="2165247"/>
            <a:ext cx="994320" cy="867600"/>
          </a:xfrm>
          <a:prstGeom prst="line">
            <a:avLst/>
          </a:prstGeom>
          <a:ln>
            <a:solidFill>
              <a:srgbClr val="BA0033"/>
            </a:solidFill>
            <a:round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/>
        </p:style>
      </p:sp>
      <p:sp>
        <p:nvSpPr>
          <p:cNvPr id="19" name="Line 12">
            <a:extLst>
              <a:ext uri="{FF2B5EF4-FFF2-40B4-BE49-F238E27FC236}">
                <a16:creationId xmlns:a16="http://schemas.microsoft.com/office/drawing/2014/main" id="{4A2DE42E-7678-EF7F-51D8-8B8207E333B0}"/>
              </a:ext>
            </a:extLst>
          </p:cNvPr>
          <p:cNvSpPr/>
          <p:nvPr/>
        </p:nvSpPr>
        <p:spPr>
          <a:xfrm flipV="1">
            <a:off x="4042662" y="3032847"/>
            <a:ext cx="994320" cy="168840"/>
          </a:xfrm>
          <a:prstGeom prst="line">
            <a:avLst/>
          </a:prstGeom>
          <a:ln>
            <a:solidFill>
              <a:srgbClr val="BA0033"/>
            </a:solidFill>
            <a:round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/>
        </p:style>
      </p:sp>
      <p:pic>
        <p:nvPicPr>
          <p:cNvPr id="20" name="Picture 37">
            <a:extLst>
              <a:ext uri="{FF2B5EF4-FFF2-40B4-BE49-F238E27FC236}">
                <a16:creationId xmlns:a16="http://schemas.microsoft.com/office/drawing/2014/main" id="{BD7798C4-A4D4-233B-34BD-516D55950663}"/>
              </a:ext>
            </a:extLst>
          </p:cNvPr>
          <p:cNvPicPr/>
          <p:nvPr/>
        </p:nvPicPr>
        <p:blipFill>
          <a:blip r:embed="rId4"/>
          <a:stretch/>
        </p:blipFill>
        <p:spPr>
          <a:xfrm>
            <a:off x="2026302" y="3273327"/>
            <a:ext cx="270360" cy="196200"/>
          </a:xfrm>
          <a:prstGeom prst="rect">
            <a:avLst/>
          </a:prstGeom>
          <a:ln>
            <a:noFill/>
          </a:ln>
        </p:spPr>
      </p:pic>
      <p:pic>
        <p:nvPicPr>
          <p:cNvPr id="21" name="Picture 41">
            <a:extLst>
              <a:ext uri="{FF2B5EF4-FFF2-40B4-BE49-F238E27FC236}">
                <a16:creationId xmlns:a16="http://schemas.microsoft.com/office/drawing/2014/main" id="{4EA45A86-BB14-1DF1-8EC2-6AA3368E6F70}"/>
              </a:ext>
            </a:extLst>
          </p:cNvPr>
          <p:cNvPicPr/>
          <p:nvPr/>
        </p:nvPicPr>
        <p:blipFill>
          <a:blip r:embed="rId5"/>
          <a:stretch/>
        </p:blipFill>
        <p:spPr>
          <a:xfrm>
            <a:off x="2020542" y="2331567"/>
            <a:ext cx="276120" cy="196200"/>
          </a:xfrm>
          <a:prstGeom prst="rect">
            <a:avLst/>
          </a:prstGeom>
          <a:ln>
            <a:noFill/>
          </a:ln>
        </p:spPr>
      </p:pic>
      <p:sp>
        <p:nvSpPr>
          <p:cNvPr id="22" name="CustomShape 13">
            <a:extLst>
              <a:ext uri="{FF2B5EF4-FFF2-40B4-BE49-F238E27FC236}">
                <a16:creationId xmlns:a16="http://schemas.microsoft.com/office/drawing/2014/main" id="{F3701A0B-06D1-E385-14CE-D4B47AEB86A8}"/>
              </a:ext>
            </a:extLst>
          </p:cNvPr>
          <p:cNvSpPr/>
          <p:nvPr/>
        </p:nvSpPr>
        <p:spPr>
          <a:xfrm>
            <a:off x="2318982" y="3959127"/>
            <a:ext cx="290520" cy="290520"/>
          </a:xfrm>
          <a:prstGeom prst="ellipse">
            <a:avLst/>
          </a:prstGeom>
          <a:solidFill>
            <a:srgbClr val="AB3348"/>
          </a:solidFill>
          <a:ln>
            <a:rou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/>
        </p:style>
      </p:sp>
      <p:sp>
        <p:nvSpPr>
          <p:cNvPr id="23" name="CustomShape 14">
            <a:extLst>
              <a:ext uri="{FF2B5EF4-FFF2-40B4-BE49-F238E27FC236}">
                <a16:creationId xmlns:a16="http://schemas.microsoft.com/office/drawing/2014/main" id="{09BA25FB-9CE2-73A2-1ECD-ED365E03CB6B}"/>
              </a:ext>
            </a:extLst>
          </p:cNvPr>
          <p:cNvSpPr/>
          <p:nvPr/>
        </p:nvSpPr>
        <p:spPr>
          <a:xfrm>
            <a:off x="3751062" y="3940407"/>
            <a:ext cx="290520" cy="290520"/>
          </a:xfrm>
          <a:prstGeom prst="ellipse">
            <a:avLst/>
          </a:prstGeom>
          <a:solidFill>
            <a:srgbClr val="AB3348"/>
          </a:solidFill>
          <a:ln>
            <a:rou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/>
        </p:style>
      </p:sp>
      <p:sp>
        <p:nvSpPr>
          <p:cNvPr id="24" name="Line 15">
            <a:extLst>
              <a:ext uri="{FF2B5EF4-FFF2-40B4-BE49-F238E27FC236}">
                <a16:creationId xmlns:a16="http://schemas.microsoft.com/office/drawing/2014/main" id="{5F11F6FC-A668-83EE-C1B8-393F18B0D8B4}"/>
              </a:ext>
            </a:extLst>
          </p:cNvPr>
          <p:cNvSpPr/>
          <p:nvPr/>
        </p:nvSpPr>
        <p:spPr>
          <a:xfrm flipV="1">
            <a:off x="2610582" y="2165247"/>
            <a:ext cx="1140480" cy="1939680"/>
          </a:xfrm>
          <a:prstGeom prst="line">
            <a:avLst/>
          </a:prstGeom>
          <a:ln>
            <a:solidFill>
              <a:srgbClr val="BA0033"/>
            </a:solidFill>
            <a:round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/>
        </p:style>
      </p:sp>
      <p:sp>
        <p:nvSpPr>
          <p:cNvPr id="25" name="Line 16">
            <a:extLst>
              <a:ext uri="{FF2B5EF4-FFF2-40B4-BE49-F238E27FC236}">
                <a16:creationId xmlns:a16="http://schemas.microsoft.com/office/drawing/2014/main" id="{EC57E170-F423-22CB-20A0-5C0F38EEC13B}"/>
              </a:ext>
            </a:extLst>
          </p:cNvPr>
          <p:cNvSpPr/>
          <p:nvPr/>
        </p:nvSpPr>
        <p:spPr>
          <a:xfrm flipV="1">
            <a:off x="2610582" y="3201687"/>
            <a:ext cx="1140480" cy="903240"/>
          </a:xfrm>
          <a:prstGeom prst="line">
            <a:avLst/>
          </a:prstGeom>
          <a:ln>
            <a:solidFill>
              <a:srgbClr val="BA0033"/>
            </a:solidFill>
            <a:round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/>
        </p:style>
      </p:sp>
      <p:sp>
        <p:nvSpPr>
          <p:cNvPr id="26" name="Line 17">
            <a:extLst>
              <a:ext uri="{FF2B5EF4-FFF2-40B4-BE49-F238E27FC236}">
                <a16:creationId xmlns:a16="http://schemas.microsoft.com/office/drawing/2014/main" id="{1F5CACFF-6197-1315-50FC-265879018D9C}"/>
              </a:ext>
            </a:extLst>
          </p:cNvPr>
          <p:cNvSpPr/>
          <p:nvPr/>
        </p:nvSpPr>
        <p:spPr>
          <a:xfrm flipV="1">
            <a:off x="3999822" y="3032847"/>
            <a:ext cx="1037160" cy="950400"/>
          </a:xfrm>
          <a:prstGeom prst="line">
            <a:avLst/>
          </a:prstGeom>
          <a:ln>
            <a:solidFill>
              <a:srgbClr val="BA0033"/>
            </a:solidFill>
            <a:round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/>
        </p:style>
      </p:sp>
      <p:pic>
        <p:nvPicPr>
          <p:cNvPr id="27" name="Picture 101">
            <a:extLst>
              <a:ext uri="{FF2B5EF4-FFF2-40B4-BE49-F238E27FC236}">
                <a16:creationId xmlns:a16="http://schemas.microsoft.com/office/drawing/2014/main" id="{55A3A2C4-74A1-747C-3410-9AA14AC35970}"/>
              </a:ext>
            </a:extLst>
          </p:cNvPr>
          <p:cNvPicPr/>
          <p:nvPr/>
        </p:nvPicPr>
        <p:blipFill>
          <a:blip r:embed="rId6"/>
          <a:stretch/>
        </p:blipFill>
        <p:spPr>
          <a:xfrm>
            <a:off x="2020542" y="4151007"/>
            <a:ext cx="276120" cy="199080"/>
          </a:xfrm>
          <a:prstGeom prst="rect">
            <a:avLst/>
          </a:prstGeom>
          <a:ln>
            <a:noFill/>
          </a:ln>
        </p:spPr>
      </p:pic>
      <p:pic>
        <p:nvPicPr>
          <p:cNvPr id="28" name="Picture 102">
            <a:extLst>
              <a:ext uri="{FF2B5EF4-FFF2-40B4-BE49-F238E27FC236}">
                <a16:creationId xmlns:a16="http://schemas.microsoft.com/office/drawing/2014/main" id="{C79800A1-7649-F188-3414-CB25936B7BE9}"/>
              </a:ext>
            </a:extLst>
          </p:cNvPr>
          <p:cNvPicPr/>
          <p:nvPr/>
        </p:nvPicPr>
        <p:blipFill>
          <a:blip r:embed="rId7"/>
          <a:stretch/>
        </p:blipFill>
        <p:spPr>
          <a:xfrm>
            <a:off x="3532902" y="3828087"/>
            <a:ext cx="187560" cy="141840"/>
          </a:xfrm>
          <a:prstGeom prst="rect">
            <a:avLst/>
          </a:prstGeom>
          <a:ln>
            <a:noFill/>
          </a:ln>
        </p:spPr>
      </p:pic>
      <p:pic>
        <p:nvPicPr>
          <p:cNvPr id="29" name="Picture 69">
            <a:extLst>
              <a:ext uri="{FF2B5EF4-FFF2-40B4-BE49-F238E27FC236}">
                <a16:creationId xmlns:a16="http://schemas.microsoft.com/office/drawing/2014/main" id="{EBA5F90A-4669-70E7-9354-C7D69DF353D1}"/>
              </a:ext>
            </a:extLst>
          </p:cNvPr>
          <p:cNvPicPr/>
          <p:nvPr/>
        </p:nvPicPr>
        <p:blipFill>
          <a:blip r:embed="rId8"/>
          <a:stretch/>
        </p:blipFill>
        <p:spPr>
          <a:xfrm>
            <a:off x="3533982" y="1801287"/>
            <a:ext cx="181800" cy="138960"/>
          </a:xfrm>
          <a:prstGeom prst="rect">
            <a:avLst/>
          </a:prstGeom>
          <a:ln>
            <a:noFill/>
          </a:ln>
        </p:spPr>
      </p:pic>
      <p:pic>
        <p:nvPicPr>
          <p:cNvPr id="30" name="Picture 72">
            <a:extLst>
              <a:ext uri="{FF2B5EF4-FFF2-40B4-BE49-F238E27FC236}">
                <a16:creationId xmlns:a16="http://schemas.microsoft.com/office/drawing/2014/main" id="{F9C3FDE7-D80C-79A7-66DE-09137D89181A}"/>
              </a:ext>
            </a:extLst>
          </p:cNvPr>
          <p:cNvPicPr/>
          <p:nvPr/>
        </p:nvPicPr>
        <p:blipFill>
          <a:blip r:embed="rId9"/>
          <a:stretch/>
        </p:blipFill>
        <p:spPr>
          <a:xfrm>
            <a:off x="3528222" y="2848167"/>
            <a:ext cx="187560" cy="138960"/>
          </a:xfrm>
          <a:prstGeom prst="rect">
            <a:avLst/>
          </a:prstGeom>
          <a:ln>
            <a:noFill/>
          </a:ln>
        </p:spPr>
      </p:pic>
      <p:pic>
        <p:nvPicPr>
          <p:cNvPr id="31" name="Picture 110">
            <a:extLst>
              <a:ext uri="{FF2B5EF4-FFF2-40B4-BE49-F238E27FC236}">
                <a16:creationId xmlns:a16="http://schemas.microsoft.com/office/drawing/2014/main" id="{A4884C60-A77D-456A-906D-D1432DB18AE7}"/>
              </a:ext>
            </a:extLst>
          </p:cNvPr>
          <p:cNvPicPr/>
          <p:nvPr/>
        </p:nvPicPr>
        <p:blipFill>
          <a:blip r:embed="rId10"/>
          <a:stretch/>
        </p:blipFill>
        <p:spPr>
          <a:xfrm>
            <a:off x="3068862" y="4563927"/>
            <a:ext cx="1713600" cy="244800"/>
          </a:xfrm>
          <a:prstGeom prst="rect">
            <a:avLst/>
          </a:prstGeom>
          <a:ln>
            <a:noFill/>
          </a:ln>
        </p:spPr>
      </p:pic>
      <p:pic>
        <p:nvPicPr>
          <p:cNvPr id="32" name="Picture 124">
            <a:extLst>
              <a:ext uri="{FF2B5EF4-FFF2-40B4-BE49-F238E27FC236}">
                <a16:creationId xmlns:a16="http://schemas.microsoft.com/office/drawing/2014/main" id="{E2804CC1-EAA5-F98C-2D66-BDA6DF19E8C9}"/>
              </a:ext>
            </a:extLst>
          </p:cNvPr>
          <p:cNvPicPr/>
          <p:nvPr/>
        </p:nvPicPr>
        <p:blipFill>
          <a:blip r:embed="rId11"/>
          <a:stretch/>
        </p:blipFill>
        <p:spPr>
          <a:xfrm>
            <a:off x="6600102" y="1804887"/>
            <a:ext cx="3763080" cy="3018960"/>
          </a:xfrm>
          <a:prstGeom prst="rect">
            <a:avLst/>
          </a:prstGeom>
          <a:ln>
            <a:noFill/>
          </a:ln>
        </p:spPr>
      </p:pic>
      <p:pic>
        <p:nvPicPr>
          <p:cNvPr id="33" name="Picture 107">
            <a:extLst>
              <a:ext uri="{FF2B5EF4-FFF2-40B4-BE49-F238E27FC236}">
                <a16:creationId xmlns:a16="http://schemas.microsoft.com/office/drawing/2014/main" id="{C26F5F28-5723-E9F9-5F26-57D5E9A519DE}"/>
              </a:ext>
            </a:extLst>
          </p:cNvPr>
          <p:cNvPicPr/>
          <p:nvPr/>
        </p:nvPicPr>
        <p:blipFill>
          <a:blip r:embed="rId12"/>
          <a:stretch/>
        </p:blipFill>
        <p:spPr>
          <a:xfrm>
            <a:off x="4686342" y="3332007"/>
            <a:ext cx="1570680" cy="498960"/>
          </a:xfrm>
          <a:prstGeom prst="rect">
            <a:avLst/>
          </a:prstGeom>
          <a:ln>
            <a:noFill/>
          </a:ln>
        </p:spPr>
      </p:pic>
      <p:sp>
        <p:nvSpPr>
          <p:cNvPr id="34" name="CustomShape 18">
            <a:extLst>
              <a:ext uri="{FF2B5EF4-FFF2-40B4-BE49-F238E27FC236}">
                <a16:creationId xmlns:a16="http://schemas.microsoft.com/office/drawing/2014/main" id="{6010B72E-0962-BB1C-8AE4-1AF92DA88812}"/>
              </a:ext>
            </a:extLst>
          </p:cNvPr>
          <p:cNvSpPr/>
          <p:nvPr/>
        </p:nvSpPr>
        <p:spPr>
          <a:xfrm>
            <a:off x="533382" y="5918248"/>
            <a:ext cx="6784560" cy="27216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>
            <a:spAutoFit/>
          </a:bodyPr>
          <a:lstStyle/>
          <a:p>
            <a:pPr>
              <a:lnSpc>
                <a:spcPct val="100000"/>
              </a:lnSpc>
            </a:pPr>
            <a:r>
              <a:rPr lang="en-US" sz="1200" b="1" strike="noStrike" spc="-1" dirty="0">
                <a:solidFill>
                  <a:srgbClr val="AB3348"/>
                </a:solidFill>
                <a:latin typeface="Times New Roman"/>
                <a:ea typeface="DejaVu Sans"/>
              </a:rPr>
              <a:t>*</a:t>
            </a:r>
            <a:r>
              <a:rPr lang="en-US" sz="1200" b="0" i="1" strike="noStrike" spc="-1" dirty="0">
                <a:solidFill>
                  <a:srgbClr val="AB3348"/>
                </a:solidFill>
                <a:latin typeface="Times New Roman"/>
                <a:ea typeface="DejaVu Sans"/>
              </a:rPr>
              <a:t>Pattern Recognition and Machine Learning</a:t>
            </a:r>
            <a:r>
              <a:rPr lang="en-US" sz="1200" b="0" strike="noStrike" spc="-1" dirty="0">
                <a:solidFill>
                  <a:srgbClr val="AB3348"/>
                </a:solidFill>
                <a:latin typeface="Times New Roman"/>
                <a:ea typeface="DejaVu Sans"/>
              </a:rPr>
              <a:t>, C. M. Bishop, Springer, 2006, pg. 232.</a:t>
            </a:r>
            <a:endParaRPr lang="en-US" sz="1200" b="0" strike="noStrike" spc="-1" dirty="0">
              <a:latin typeface="Arial"/>
            </a:endParaRPr>
          </a:p>
        </p:txBody>
      </p:sp>
      <p:sp>
        <p:nvSpPr>
          <p:cNvPr id="35" name="CustomShape 19">
            <a:extLst>
              <a:ext uri="{FF2B5EF4-FFF2-40B4-BE49-F238E27FC236}">
                <a16:creationId xmlns:a16="http://schemas.microsoft.com/office/drawing/2014/main" id="{5726B6B7-11E3-0D99-1563-E92A6400F655}"/>
              </a:ext>
            </a:extLst>
          </p:cNvPr>
          <p:cNvSpPr/>
          <p:nvPr/>
        </p:nvSpPr>
        <p:spPr>
          <a:xfrm>
            <a:off x="10222782" y="1539927"/>
            <a:ext cx="282240" cy="33300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>
            <a:spAutoFit/>
          </a:bodyPr>
          <a:lstStyle/>
          <a:p>
            <a:pPr>
              <a:lnSpc>
                <a:spcPct val="100000"/>
              </a:lnSpc>
            </a:pPr>
            <a:r>
              <a:rPr lang="en-US" sz="1600" b="1" strike="noStrike" spc="-1">
                <a:solidFill>
                  <a:srgbClr val="AB3348"/>
                </a:solidFill>
                <a:latin typeface="Times New Roman"/>
                <a:ea typeface="DejaVu Sans"/>
              </a:rPr>
              <a:t>*</a:t>
            </a:r>
            <a:endParaRPr lang="en-US" sz="1600" b="0" strike="noStrike" spc="-1">
              <a:latin typeface="Arial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637014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E6EF2DD4-1428-4F29-BED0-012580DEB727}"/>
              </a:ext>
            </a:extLst>
          </p:cNvPr>
          <p:cNvGrpSpPr/>
          <p:nvPr/>
        </p:nvGrpSpPr>
        <p:grpSpPr>
          <a:xfrm>
            <a:off x="1" y="6496048"/>
            <a:ext cx="12192000" cy="381103"/>
            <a:chOff x="-1" y="6496048"/>
            <a:chExt cx="12192001" cy="361952"/>
          </a:xfrm>
        </p:grpSpPr>
        <p:sp>
          <p:nvSpPr>
            <p:cNvPr id="17" name="Dikdörtgen 10">
              <a:extLst>
                <a:ext uri="{FF2B5EF4-FFF2-40B4-BE49-F238E27FC236}">
                  <a16:creationId xmlns:a16="http://schemas.microsoft.com/office/drawing/2014/main" id="{C14596DF-271A-400A-B0AE-693FCDF2F217}"/>
                </a:ext>
              </a:extLst>
            </p:cNvPr>
            <p:cNvSpPr/>
            <p:nvPr/>
          </p:nvSpPr>
          <p:spPr>
            <a:xfrm>
              <a:off x="10115547" y="6496049"/>
              <a:ext cx="2076453" cy="361951"/>
            </a:xfrm>
            <a:prstGeom prst="rect">
              <a:avLst/>
            </a:prstGeom>
            <a:solidFill>
              <a:srgbClr val="2198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dirty="0"/>
                <a:t>   Özgür Martin</a:t>
              </a:r>
            </a:p>
          </p:txBody>
        </p:sp>
        <p:sp>
          <p:nvSpPr>
            <p:cNvPr id="18" name="Dikdörtgen 10">
              <a:extLst>
                <a:ext uri="{FF2B5EF4-FFF2-40B4-BE49-F238E27FC236}">
                  <a16:creationId xmlns:a16="http://schemas.microsoft.com/office/drawing/2014/main" id="{84A5B1F6-64B9-4792-8088-33FD44F5342F}"/>
                </a:ext>
              </a:extLst>
            </p:cNvPr>
            <p:cNvSpPr/>
            <p:nvPr/>
          </p:nvSpPr>
          <p:spPr>
            <a:xfrm>
              <a:off x="-1" y="6496048"/>
              <a:ext cx="10151743" cy="361952"/>
            </a:xfrm>
            <a:prstGeom prst="rect">
              <a:avLst/>
            </a:prstGeom>
            <a:solidFill>
              <a:srgbClr val="2198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altLang="ko-KR" dirty="0" err="1">
                  <a:solidFill>
                    <a:schemeClr val="bg1"/>
                  </a:solidFill>
                  <a:cs typeface="Arial" pitchFamily="34" charset="0"/>
                </a:rPr>
                <a:t>Neural</a:t>
              </a:r>
              <a:r>
                <a:rPr lang="tr-TR" altLang="ko-KR" dirty="0">
                  <a:solidFill>
                    <a:schemeClr val="bg1"/>
                  </a:solidFill>
                  <a:cs typeface="Arial" pitchFamily="34" charset="0"/>
                </a:rPr>
                <a:t> Networks</a:t>
              </a:r>
            </a:p>
          </p:txBody>
        </p:sp>
      </p:grpSp>
      <p:sp>
        <p:nvSpPr>
          <p:cNvPr id="5" name="CustomShape 1">
            <a:extLst>
              <a:ext uri="{FF2B5EF4-FFF2-40B4-BE49-F238E27FC236}">
                <a16:creationId xmlns:a16="http://schemas.microsoft.com/office/drawing/2014/main" id="{092C7734-5DBC-40C8-0406-5DC9D7344D5A}"/>
              </a:ext>
            </a:extLst>
          </p:cNvPr>
          <p:cNvSpPr/>
          <p:nvPr/>
        </p:nvSpPr>
        <p:spPr>
          <a:xfrm>
            <a:off x="648488" y="359298"/>
            <a:ext cx="8170920" cy="106488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>
            <a:noAutofit/>
          </a:bodyPr>
          <a:lstStyle/>
          <a:p>
            <a:pPr>
              <a:lnSpc>
                <a:spcPts val="3200"/>
              </a:lnSpc>
            </a:pPr>
            <a:r>
              <a:rPr lang="en-US" sz="2800" b="0" strike="noStrike" spc="-1" dirty="0">
                <a:solidFill>
                  <a:srgbClr val="AB3348"/>
                </a:solidFill>
                <a:latin typeface="Times New Roman"/>
                <a:ea typeface="DejaVu Sans"/>
              </a:rPr>
              <a:t>CNN</a:t>
            </a:r>
            <a:r>
              <a:rPr lang="tr-TR" sz="2800" b="0" strike="noStrike" spc="-1" dirty="0">
                <a:solidFill>
                  <a:srgbClr val="AB3348"/>
                </a:solidFill>
                <a:latin typeface="Times New Roman"/>
                <a:ea typeface="DejaVu Sans"/>
              </a:rPr>
              <a:t> – </a:t>
            </a:r>
            <a:r>
              <a:rPr lang="tr-TR" sz="2800" b="0" strike="noStrike" spc="-1" dirty="0" err="1">
                <a:solidFill>
                  <a:srgbClr val="AB3348"/>
                </a:solidFill>
                <a:latin typeface="Times New Roman"/>
                <a:ea typeface="DejaVu Sans"/>
              </a:rPr>
              <a:t>ImageNet</a:t>
            </a:r>
            <a:r>
              <a:rPr lang="tr-TR" sz="2800" b="0" strike="noStrike" spc="-1" dirty="0">
                <a:solidFill>
                  <a:srgbClr val="AB3348"/>
                </a:solidFill>
                <a:latin typeface="Times New Roman"/>
                <a:ea typeface="DejaVu Sans"/>
              </a:rPr>
              <a:t> </a:t>
            </a:r>
            <a:r>
              <a:rPr lang="tr-TR" sz="2800" b="0" strike="noStrike" spc="-1" dirty="0" err="1">
                <a:solidFill>
                  <a:srgbClr val="AB3348"/>
                </a:solidFill>
                <a:latin typeface="Times New Roman"/>
                <a:ea typeface="DejaVu Sans"/>
              </a:rPr>
              <a:t>Classification</a:t>
            </a:r>
            <a:endParaRPr lang="en-US" sz="2800" b="0" strike="noStrike" spc="-1" dirty="0">
              <a:latin typeface="Arial"/>
            </a:endParaRPr>
          </a:p>
        </p:txBody>
      </p:sp>
      <p:pic>
        <p:nvPicPr>
          <p:cNvPr id="6" name="Picture 5" descr="A close up of a map&#10;&#10;Description automatically generated">
            <a:extLst>
              <a:ext uri="{FF2B5EF4-FFF2-40B4-BE49-F238E27FC236}">
                <a16:creationId xmlns:a16="http://schemas.microsoft.com/office/drawing/2014/main" id="{02CC58A0-5A20-9E88-3311-3131BA9902D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86966" y="1993838"/>
            <a:ext cx="8636000" cy="29591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1167B6B1-6986-BF31-9116-6EC0AA784D13}"/>
              </a:ext>
            </a:extLst>
          </p:cNvPr>
          <p:cNvSpPr txBox="1"/>
          <p:nvPr/>
        </p:nvSpPr>
        <p:spPr>
          <a:xfrm>
            <a:off x="9606302" y="5048950"/>
            <a:ext cx="7729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noProof="1">
                <a:solidFill>
                  <a:srgbClr val="AB3348"/>
                </a:solidFill>
                <a:latin typeface="Times New Roman"/>
                <a:cs typeface="Times New Roman"/>
              </a:rPr>
              <a:t>(</a:t>
            </a:r>
            <a:r>
              <a:rPr lang="en-US" sz="1400" noProof="1">
                <a:solidFill>
                  <a:srgbClr val="FF0000"/>
                </a:solidFill>
                <a:latin typeface="Times New Roman"/>
                <a:cs typeface="Times New Roman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ource</a:t>
            </a:r>
            <a:r>
              <a:rPr lang="en-US" sz="1400" noProof="1">
                <a:solidFill>
                  <a:srgbClr val="AB3348"/>
                </a:solidFill>
                <a:latin typeface="Times New Roman"/>
                <a:cs typeface="Times New Roman"/>
              </a:rPr>
              <a:t>)</a:t>
            </a:r>
            <a:endParaRPr lang="en-US" sz="1400" baseline="30000" noProof="1">
              <a:solidFill>
                <a:srgbClr val="AB3348"/>
              </a:solidFill>
              <a:latin typeface="Times New Roman"/>
              <a:cs typeface="Times New Roman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00471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E6EF2DD4-1428-4F29-BED0-012580DEB727}"/>
              </a:ext>
            </a:extLst>
          </p:cNvPr>
          <p:cNvGrpSpPr/>
          <p:nvPr/>
        </p:nvGrpSpPr>
        <p:grpSpPr>
          <a:xfrm>
            <a:off x="1" y="6496048"/>
            <a:ext cx="12192000" cy="381103"/>
            <a:chOff x="-1" y="6496048"/>
            <a:chExt cx="12192001" cy="361952"/>
          </a:xfrm>
        </p:grpSpPr>
        <p:sp>
          <p:nvSpPr>
            <p:cNvPr id="17" name="Dikdörtgen 10">
              <a:extLst>
                <a:ext uri="{FF2B5EF4-FFF2-40B4-BE49-F238E27FC236}">
                  <a16:creationId xmlns:a16="http://schemas.microsoft.com/office/drawing/2014/main" id="{C14596DF-271A-400A-B0AE-693FCDF2F217}"/>
                </a:ext>
              </a:extLst>
            </p:cNvPr>
            <p:cNvSpPr/>
            <p:nvPr/>
          </p:nvSpPr>
          <p:spPr>
            <a:xfrm>
              <a:off x="10115547" y="6496049"/>
              <a:ext cx="2076453" cy="361951"/>
            </a:xfrm>
            <a:prstGeom prst="rect">
              <a:avLst/>
            </a:prstGeom>
            <a:solidFill>
              <a:srgbClr val="2198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dirty="0"/>
                <a:t>   Özgür Martin</a:t>
              </a:r>
            </a:p>
          </p:txBody>
        </p:sp>
        <p:sp>
          <p:nvSpPr>
            <p:cNvPr id="18" name="Dikdörtgen 10">
              <a:extLst>
                <a:ext uri="{FF2B5EF4-FFF2-40B4-BE49-F238E27FC236}">
                  <a16:creationId xmlns:a16="http://schemas.microsoft.com/office/drawing/2014/main" id="{84A5B1F6-64B9-4792-8088-33FD44F5342F}"/>
                </a:ext>
              </a:extLst>
            </p:cNvPr>
            <p:cNvSpPr/>
            <p:nvPr/>
          </p:nvSpPr>
          <p:spPr>
            <a:xfrm>
              <a:off x="-1" y="6496048"/>
              <a:ext cx="10151743" cy="361952"/>
            </a:xfrm>
            <a:prstGeom prst="rect">
              <a:avLst/>
            </a:prstGeom>
            <a:solidFill>
              <a:srgbClr val="2198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altLang="ko-KR" dirty="0" err="1">
                  <a:solidFill>
                    <a:schemeClr val="bg1"/>
                  </a:solidFill>
                  <a:cs typeface="Arial" pitchFamily="34" charset="0"/>
                </a:rPr>
                <a:t>Neural</a:t>
              </a:r>
              <a:r>
                <a:rPr lang="tr-TR" altLang="ko-KR" dirty="0">
                  <a:solidFill>
                    <a:schemeClr val="bg1"/>
                  </a:solidFill>
                  <a:cs typeface="Arial" pitchFamily="34" charset="0"/>
                </a:rPr>
                <a:t> Networks</a:t>
              </a:r>
            </a:p>
          </p:txBody>
        </p:sp>
      </p:grpSp>
      <p:sp>
        <p:nvSpPr>
          <p:cNvPr id="5" name="CustomShape 1">
            <a:extLst>
              <a:ext uri="{FF2B5EF4-FFF2-40B4-BE49-F238E27FC236}">
                <a16:creationId xmlns:a16="http://schemas.microsoft.com/office/drawing/2014/main" id="{44638A4C-F0C2-9F5F-682F-5BBF7596E09C}"/>
              </a:ext>
            </a:extLst>
          </p:cNvPr>
          <p:cNvSpPr/>
          <p:nvPr/>
        </p:nvSpPr>
        <p:spPr>
          <a:xfrm>
            <a:off x="533763" y="287006"/>
            <a:ext cx="8170920" cy="106488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>
            <a:noAutofit/>
          </a:bodyPr>
          <a:lstStyle/>
          <a:p>
            <a:pPr>
              <a:lnSpc>
                <a:spcPts val="3200"/>
              </a:lnSpc>
            </a:pPr>
            <a:r>
              <a:rPr lang="en-US" sz="2800" b="0" strike="noStrike" spc="-1" dirty="0">
                <a:solidFill>
                  <a:srgbClr val="AB3348"/>
                </a:solidFill>
                <a:latin typeface="Times New Roman"/>
                <a:ea typeface="DejaVu Sans"/>
              </a:rPr>
              <a:t>Autoencoders</a:t>
            </a:r>
            <a:endParaRPr lang="en-US" sz="2800" b="0" strike="noStrike" spc="-1" dirty="0">
              <a:latin typeface="Arial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579B648-BAEA-C5FC-FE1F-A721E8D118C3}"/>
              </a:ext>
            </a:extLst>
          </p:cNvPr>
          <p:cNvPicPr/>
          <p:nvPr/>
        </p:nvPicPr>
        <p:blipFill>
          <a:blip r:embed="rId4"/>
          <a:stretch/>
        </p:blipFill>
        <p:spPr>
          <a:xfrm>
            <a:off x="2358843" y="2684903"/>
            <a:ext cx="7358932" cy="3128838"/>
          </a:xfrm>
          <a:prstGeom prst="rect">
            <a:avLst/>
          </a:prstGeom>
          <a:ln>
            <a:noFill/>
          </a:ln>
        </p:spPr>
      </p:pic>
      <p:sp>
        <p:nvSpPr>
          <p:cNvPr id="7" name="CustomShape 2">
            <a:extLst>
              <a:ext uri="{FF2B5EF4-FFF2-40B4-BE49-F238E27FC236}">
                <a16:creationId xmlns:a16="http://schemas.microsoft.com/office/drawing/2014/main" id="{3DABD02F-B17A-7BD3-38D5-615345AA5391}"/>
              </a:ext>
            </a:extLst>
          </p:cNvPr>
          <p:cNvSpPr/>
          <p:nvPr/>
        </p:nvSpPr>
        <p:spPr>
          <a:xfrm>
            <a:off x="2106823" y="1186301"/>
            <a:ext cx="8170920" cy="152632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>
            <a:noAutofit/>
          </a:bodyPr>
          <a:lstStyle/>
          <a:p>
            <a:pPr marL="343980" indent="-342900">
              <a:lnSpc>
                <a:spcPct val="150000"/>
              </a:lnSpc>
              <a:buClr>
                <a:srgbClr val="005117"/>
              </a:buClr>
              <a:buSzPct val="130000"/>
              <a:buFont typeface="Wingdings" panose="05000000000000000000" pitchFamily="2" charset="2"/>
              <a:buChar char="§"/>
            </a:pPr>
            <a:r>
              <a:rPr lang="en-US" sz="2000" spc="-1" dirty="0">
                <a:solidFill>
                  <a:srgbClr val="005117"/>
                </a:solidFill>
                <a:latin typeface="Times New Roman"/>
              </a:rPr>
              <a:t>Unsupervised learning</a:t>
            </a:r>
          </a:p>
          <a:p>
            <a:pPr marL="343980" indent="-342900">
              <a:lnSpc>
                <a:spcPct val="150000"/>
              </a:lnSpc>
              <a:buClr>
                <a:srgbClr val="005117"/>
              </a:buClr>
              <a:buSzPct val="130000"/>
              <a:buFont typeface="Wingdings" panose="05000000000000000000" pitchFamily="2" charset="2"/>
              <a:buChar char="§"/>
            </a:pPr>
            <a:r>
              <a:rPr lang="en-US" sz="2000" spc="-1" dirty="0">
                <a:solidFill>
                  <a:srgbClr val="005117"/>
                </a:solidFill>
                <a:latin typeface="Times New Roman"/>
              </a:rPr>
              <a:t>Motto: Extract features, reconstruct input</a:t>
            </a:r>
          </a:p>
          <a:p>
            <a:pPr marL="343980" indent="-342900">
              <a:lnSpc>
                <a:spcPct val="150000"/>
              </a:lnSpc>
              <a:buClr>
                <a:srgbClr val="005117"/>
              </a:buClr>
              <a:buSzPct val="130000"/>
              <a:buFont typeface="Wingdings" panose="05000000000000000000" pitchFamily="2" charset="2"/>
              <a:buChar char="§"/>
            </a:pPr>
            <a:r>
              <a:rPr lang="en-US" sz="2000" spc="-1" dirty="0">
                <a:solidFill>
                  <a:srgbClr val="005117"/>
                </a:solidFill>
                <a:latin typeface="Times New Roman"/>
              </a:rPr>
              <a:t>Dimension reduction techniqu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73C20AC-020A-6492-D2D8-F7A4F3EB3CD0}"/>
              </a:ext>
            </a:extLst>
          </p:cNvPr>
          <p:cNvSpPr txBox="1"/>
          <p:nvPr/>
        </p:nvSpPr>
        <p:spPr>
          <a:xfrm>
            <a:off x="9001547" y="5813741"/>
            <a:ext cx="7729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noProof="1">
                <a:solidFill>
                  <a:srgbClr val="AB3348"/>
                </a:solidFill>
                <a:latin typeface="Times New Roman"/>
                <a:cs typeface="Times New Roman"/>
              </a:rPr>
              <a:t>(</a:t>
            </a:r>
            <a:r>
              <a:rPr lang="en-US" sz="1400" noProof="1">
                <a:solidFill>
                  <a:srgbClr val="AB3348"/>
                </a:solidFill>
                <a:latin typeface="Times New Roman"/>
                <a:cs typeface="Times New Roman"/>
                <a:hlinkClick r:id="rId5"/>
              </a:rPr>
              <a:t>source</a:t>
            </a:r>
            <a:r>
              <a:rPr lang="en-US" sz="1400" noProof="1">
                <a:solidFill>
                  <a:srgbClr val="AB3348"/>
                </a:solidFill>
                <a:latin typeface="Times New Roman"/>
                <a:cs typeface="Times New Roman"/>
              </a:rPr>
              <a:t>)</a:t>
            </a:r>
            <a:endParaRPr lang="en-US" sz="1400" baseline="30000" noProof="1">
              <a:solidFill>
                <a:srgbClr val="AB3348"/>
              </a:solidFill>
              <a:latin typeface="Times New Roman"/>
              <a:cs typeface="Times New Roman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17790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E6EF2DD4-1428-4F29-BED0-012580DEB727}"/>
              </a:ext>
            </a:extLst>
          </p:cNvPr>
          <p:cNvGrpSpPr/>
          <p:nvPr/>
        </p:nvGrpSpPr>
        <p:grpSpPr>
          <a:xfrm>
            <a:off x="1" y="6496048"/>
            <a:ext cx="12192000" cy="381103"/>
            <a:chOff x="-1" y="6496048"/>
            <a:chExt cx="12192001" cy="361952"/>
          </a:xfrm>
        </p:grpSpPr>
        <p:sp>
          <p:nvSpPr>
            <p:cNvPr id="17" name="Dikdörtgen 10">
              <a:extLst>
                <a:ext uri="{FF2B5EF4-FFF2-40B4-BE49-F238E27FC236}">
                  <a16:creationId xmlns:a16="http://schemas.microsoft.com/office/drawing/2014/main" id="{C14596DF-271A-400A-B0AE-693FCDF2F217}"/>
                </a:ext>
              </a:extLst>
            </p:cNvPr>
            <p:cNvSpPr/>
            <p:nvPr/>
          </p:nvSpPr>
          <p:spPr>
            <a:xfrm>
              <a:off x="10115547" y="6496049"/>
              <a:ext cx="2076453" cy="361951"/>
            </a:xfrm>
            <a:prstGeom prst="rect">
              <a:avLst/>
            </a:prstGeom>
            <a:solidFill>
              <a:srgbClr val="2198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dirty="0"/>
                <a:t>   Özgür Martin</a:t>
              </a:r>
            </a:p>
          </p:txBody>
        </p:sp>
        <p:sp>
          <p:nvSpPr>
            <p:cNvPr id="18" name="Dikdörtgen 10">
              <a:extLst>
                <a:ext uri="{FF2B5EF4-FFF2-40B4-BE49-F238E27FC236}">
                  <a16:creationId xmlns:a16="http://schemas.microsoft.com/office/drawing/2014/main" id="{84A5B1F6-64B9-4792-8088-33FD44F5342F}"/>
                </a:ext>
              </a:extLst>
            </p:cNvPr>
            <p:cNvSpPr/>
            <p:nvPr/>
          </p:nvSpPr>
          <p:spPr>
            <a:xfrm>
              <a:off x="-1" y="6496048"/>
              <a:ext cx="10151743" cy="361952"/>
            </a:xfrm>
            <a:prstGeom prst="rect">
              <a:avLst/>
            </a:prstGeom>
            <a:solidFill>
              <a:srgbClr val="2198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altLang="ko-KR" dirty="0" err="1">
                  <a:solidFill>
                    <a:schemeClr val="bg1"/>
                  </a:solidFill>
                  <a:cs typeface="Arial" pitchFamily="34" charset="0"/>
                </a:rPr>
                <a:t>Neural</a:t>
              </a:r>
              <a:r>
                <a:rPr lang="tr-TR" altLang="ko-KR" dirty="0">
                  <a:solidFill>
                    <a:schemeClr val="bg1"/>
                  </a:solidFill>
                  <a:cs typeface="Arial" pitchFamily="34" charset="0"/>
                </a:rPr>
                <a:t> Networks</a:t>
              </a:r>
            </a:p>
          </p:txBody>
        </p:sp>
      </p:grpSp>
      <p:sp>
        <p:nvSpPr>
          <p:cNvPr id="5" name="CustomShape 1">
            <a:extLst>
              <a:ext uri="{FF2B5EF4-FFF2-40B4-BE49-F238E27FC236}">
                <a16:creationId xmlns:a16="http://schemas.microsoft.com/office/drawing/2014/main" id="{0C84D8FE-FE38-A184-733C-A8329EC0D1EA}"/>
              </a:ext>
            </a:extLst>
          </p:cNvPr>
          <p:cNvSpPr/>
          <p:nvPr/>
        </p:nvSpPr>
        <p:spPr>
          <a:xfrm>
            <a:off x="465695" y="188972"/>
            <a:ext cx="8170920" cy="106488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>
            <a:noAutofit/>
          </a:bodyPr>
          <a:lstStyle/>
          <a:p>
            <a:pPr>
              <a:lnSpc>
                <a:spcPts val="3200"/>
              </a:lnSpc>
            </a:pPr>
            <a:r>
              <a:rPr lang="en-US" sz="2800" b="0" strike="noStrike" spc="-1" dirty="0">
                <a:solidFill>
                  <a:srgbClr val="AB3348"/>
                </a:solidFill>
                <a:latin typeface="Times New Roman"/>
                <a:ea typeface="DejaVu Sans"/>
              </a:rPr>
              <a:t>Autoencoders</a:t>
            </a:r>
            <a:endParaRPr lang="en-US" sz="2800" b="0" strike="noStrike" spc="-1" dirty="0">
              <a:latin typeface="Arial"/>
            </a:endParaRPr>
          </a:p>
        </p:txBody>
      </p:sp>
      <p:pic>
        <p:nvPicPr>
          <p:cNvPr id="6" name="Picture 227">
            <a:extLst>
              <a:ext uri="{FF2B5EF4-FFF2-40B4-BE49-F238E27FC236}">
                <a16:creationId xmlns:a16="http://schemas.microsoft.com/office/drawing/2014/main" id="{14705486-1B13-128C-F930-A690048A9AA6}"/>
              </a:ext>
            </a:extLst>
          </p:cNvPr>
          <p:cNvPicPr/>
          <p:nvPr/>
        </p:nvPicPr>
        <p:blipFill>
          <a:blip r:embed="rId4"/>
          <a:stretch/>
        </p:blipFill>
        <p:spPr>
          <a:xfrm>
            <a:off x="2823875" y="4800617"/>
            <a:ext cx="2253600" cy="664560"/>
          </a:xfrm>
          <a:prstGeom prst="rect">
            <a:avLst/>
          </a:prstGeom>
          <a:ln>
            <a:noFill/>
          </a:ln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958187FA-9B82-A506-D9FE-C5589A94232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/>
        </p:blipFill>
        <p:spPr>
          <a:xfrm>
            <a:off x="5883164" y="5036417"/>
            <a:ext cx="676275" cy="333375"/>
          </a:xfrm>
          <a:prstGeom prst="rect">
            <a:avLst/>
          </a:prstGeom>
          <a:ln>
            <a:noFill/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B777163-9B78-2109-C8C6-97B45746ACC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/>
        </p:blipFill>
        <p:spPr>
          <a:xfrm>
            <a:off x="7277247" y="5505857"/>
            <a:ext cx="2333625" cy="347663"/>
          </a:xfrm>
          <a:prstGeom prst="rect">
            <a:avLst/>
          </a:prstGeom>
          <a:ln>
            <a:noFill/>
          </a:ln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38890E72-75ED-DECC-34B3-06E9C4365A40}"/>
              </a:ext>
            </a:extLst>
          </p:cNvPr>
          <p:cNvGrpSpPr/>
          <p:nvPr/>
        </p:nvGrpSpPr>
        <p:grpSpPr>
          <a:xfrm>
            <a:off x="2310155" y="1062377"/>
            <a:ext cx="7848579" cy="3745800"/>
            <a:chOff x="614520" y="1117225"/>
            <a:chExt cx="7848579" cy="3745800"/>
          </a:xfrm>
        </p:grpSpPr>
        <p:sp>
          <p:nvSpPr>
            <p:cNvPr id="10" name="CustomShape 2">
              <a:extLst>
                <a:ext uri="{FF2B5EF4-FFF2-40B4-BE49-F238E27FC236}">
                  <a16:creationId xmlns:a16="http://schemas.microsoft.com/office/drawing/2014/main" id="{99949706-983E-7C51-9892-B5CED4AD35B8}"/>
                </a:ext>
              </a:extLst>
            </p:cNvPr>
            <p:cNvSpPr/>
            <p:nvPr/>
          </p:nvSpPr>
          <p:spPr>
            <a:xfrm>
              <a:off x="1011240" y="1799065"/>
              <a:ext cx="290520" cy="290520"/>
            </a:xfrm>
            <a:prstGeom prst="ellipse">
              <a:avLst/>
            </a:prstGeom>
            <a:ln>
              <a:round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/>
          </p:style>
        </p:sp>
        <p:sp>
          <p:nvSpPr>
            <p:cNvPr id="11" name="CustomShape 3">
              <a:extLst>
                <a:ext uri="{FF2B5EF4-FFF2-40B4-BE49-F238E27FC236}">
                  <a16:creationId xmlns:a16="http://schemas.microsoft.com/office/drawing/2014/main" id="{7F5ED0F6-D3C0-EB54-C252-0226CC45A1B3}"/>
                </a:ext>
              </a:extLst>
            </p:cNvPr>
            <p:cNvSpPr/>
            <p:nvPr/>
          </p:nvSpPr>
          <p:spPr>
            <a:xfrm>
              <a:off x="1011240" y="2725705"/>
              <a:ext cx="290520" cy="290520"/>
            </a:xfrm>
            <a:prstGeom prst="ellipse">
              <a:avLst/>
            </a:prstGeom>
            <a:ln>
              <a:round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/>
          </p:style>
        </p:sp>
        <p:sp>
          <p:nvSpPr>
            <p:cNvPr id="12" name="CustomShape 4">
              <a:extLst>
                <a:ext uri="{FF2B5EF4-FFF2-40B4-BE49-F238E27FC236}">
                  <a16:creationId xmlns:a16="http://schemas.microsoft.com/office/drawing/2014/main" id="{DD417A89-5756-CA6E-39A3-8A3FF8AECF63}"/>
                </a:ext>
              </a:extLst>
            </p:cNvPr>
            <p:cNvSpPr/>
            <p:nvPr/>
          </p:nvSpPr>
          <p:spPr>
            <a:xfrm>
              <a:off x="1011240" y="3785185"/>
              <a:ext cx="290520" cy="290520"/>
            </a:xfrm>
            <a:prstGeom prst="ellipse">
              <a:avLst/>
            </a:prstGeom>
            <a:ln>
              <a:round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/>
          </p:style>
        </p:sp>
        <p:sp>
          <p:nvSpPr>
            <p:cNvPr id="13" name="CustomShape 5">
              <a:extLst>
                <a:ext uri="{FF2B5EF4-FFF2-40B4-BE49-F238E27FC236}">
                  <a16:creationId xmlns:a16="http://schemas.microsoft.com/office/drawing/2014/main" id="{49299DF1-E905-79E7-0FB9-6562411E85D6}"/>
                </a:ext>
              </a:extLst>
            </p:cNvPr>
            <p:cNvSpPr/>
            <p:nvPr/>
          </p:nvSpPr>
          <p:spPr>
            <a:xfrm>
              <a:off x="4409280" y="1312345"/>
              <a:ext cx="290520" cy="290520"/>
            </a:xfrm>
            <a:prstGeom prst="ellipse">
              <a:avLst/>
            </a:prstGeom>
            <a:ln>
              <a:round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/>
          </p:style>
        </p:sp>
        <p:sp>
          <p:nvSpPr>
            <p:cNvPr id="14" name="CustomShape 6">
              <a:extLst>
                <a:ext uri="{FF2B5EF4-FFF2-40B4-BE49-F238E27FC236}">
                  <a16:creationId xmlns:a16="http://schemas.microsoft.com/office/drawing/2014/main" id="{B49300A7-2FB6-F019-9B8F-E321369C2066}"/>
                </a:ext>
              </a:extLst>
            </p:cNvPr>
            <p:cNvSpPr/>
            <p:nvPr/>
          </p:nvSpPr>
          <p:spPr>
            <a:xfrm>
              <a:off x="4409280" y="3842425"/>
              <a:ext cx="290520" cy="290520"/>
            </a:xfrm>
            <a:prstGeom prst="ellipse">
              <a:avLst/>
            </a:prstGeom>
            <a:ln>
              <a:round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/>
          </p:style>
        </p:sp>
        <p:sp>
          <p:nvSpPr>
            <p:cNvPr id="15" name="CustomShape 7">
              <a:extLst>
                <a:ext uri="{FF2B5EF4-FFF2-40B4-BE49-F238E27FC236}">
                  <a16:creationId xmlns:a16="http://schemas.microsoft.com/office/drawing/2014/main" id="{B62D9593-F98C-9D9B-DCB6-2FE8CE4F06B1}"/>
                </a:ext>
              </a:extLst>
            </p:cNvPr>
            <p:cNvSpPr/>
            <p:nvPr/>
          </p:nvSpPr>
          <p:spPr>
            <a:xfrm>
              <a:off x="7758720" y="1856305"/>
              <a:ext cx="290520" cy="290520"/>
            </a:xfrm>
            <a:prstGeom prst="ellipse">
              <a:avLst/>
            </a:prstGeom>
            <a:ln>
              <a:round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/>
          </p:style>
        </p:sp>
        <p:sp>
          <p:nvSpPr>
            <p:cNvPr id="19" name="CustomShape 8">
              <a:extLst>
                <a:ext uri="{FF2B5EF4-FFF2-40B4-BE49-F238E27FC236}">
                  <a16:creationId xmlns:a16="http://schemas.microsoft.com/office/drawing/2014/main" id="{D0F37D79-A661-77FC-E299-5E72B48565D3}"/>
                </a:ext>
              </a:extLst>
            </p:cNvPr>
            <p:cNvSpPr/>
            <p:nvPr/>
          </p:nvSpPr>
          <p:spPr>
            <a:xfrm>
              <a:off x="7758720" y="2995345"/>
              <a:ext cx="290520" cy="290520"/>
            </a:xfrm>
            <a:prstGeom prst="ellipse">
              <a:avLst/>
            </a:prstGeom>
            <a:ln>
              <a:round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/>
          </p:style>
        </p:sp>
        <p:sp>
          <p:nvSpPr>
            <p:cNvPr id="20" name="CustomShape 9">
              <a:extLst>
                <a:ext uri="{FF2B5EF4-FFF2-40B4-BE49-F238E27FC236}">
                  <a16:creationId xmlns:a16="http://schemas.microsoft.com/office/drawing/2014/main" id="{2F34DE07-F582-1573-840F-6617EAFFA55F}"/>
                </a:ext>
              </a:extLst>
            </p:cNvPr>
            <p:cNvSpPr/>
            <p:nvPr/>
          </p:nvSpPr>
          <p:spPr>
            <a:xfrm>
              <a:off x="7758720" y="4245265"/>
              <a:ext cx="290520" cy="290520"/>
            </a:xfrm>
            <a:prstGeom prst="ellipse">
              <a:avLst/>
            </a:prstGeom>
            <a:ln>
              <a:round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/>
          </p:style>
        </p:sp>
        <p:sp>
          <p:nvSpPr>
            <p:cNvPr id="21" name="CustomShape 10">
              <a:extLst>
                <a:ext uri="{FF2B5EF4-FFF2-40B4-BE49-F238E27FC236}">
                  <a16:creationId xmlns:a16="http://schemas.microsoft.com/office/drawing/2014/main" id="{EC67E364-563B-26B4-BF3D-A4461A80F731}"/>
                </a:ext>
              </a:extLst>
            </p:cNvPr>
            <p:cNvSpPr/>
            <p:nvPr/>
          </p:nvSpPr>
          <p:spPr>
            <a:xfrm>
              <a:off x="4409280" y="2328265"/>
              <a:ext cx="290520" cy="290520"/>
            </a:xfrm>
            <a:prstGeom prst="ellipse">
              <a:avLst/>
            </a:prstGeom>
            <a:ln>
              <a:round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/>
          </p:style>
        </p:sp>
        <p:sp>
          <p:nvSpPr>
            <p:cNvPr id="22" name="CustomShape 11">
              <a:extLst>
                <a:ext uri="{FF2B5EF4-FFF2-40B4-BE49-F238E27FC236}">
                  <a16:creationId xmlns:a16="http://schemas.microsoft.com/office/drawing/2014/main" id="{D44B8C1C-9674-DC5D-CFDD-CFB734B32C92}"/>
                </a:ext>
              </a:extLst>
            </p:cNvPr>
            <p:cNvSpPr/>
            <p:nvPr/>
          </p:nvSpPr>
          <p:spPr>
            <a:xfrm rot="5400000">
              <a:off x="934920" y="2255185"/>
              <a:ext cx="527400" cy="363960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 wrap="none" lIns="90000" tIns="45000" rIns="90000" bIns="45000">
              <a:spAutoFit/>
            </a:bodyPr>
            <a:lstStyle/>
            <a:p>
              <a:pPr algn="ctr">
                <a:lnSpc>
                  <a:spcPct val="100000"/>
                </a:lnSpc>
              </a:pPr>
              <a:r>
                <a:rPr lang="en-US" sz="1800" b="1" strike="noStrike" spc="-1">
                  <a:solidFill>
                    <a:srgbClr val="AB3348"/>
                  </a:solidFill>
                  <a:latin typeface="Times New Roman"/>
                  <a:ea typeface="DejaVu Sans"/>
                </a:rPr>
                <a:t>. . . </a:t>
              </a:r>
              <a:endParaRPr lang="en-US" sz="1800" b="0" strike="noStrike" spc="-1">
                <a:latin typeface="Arial"/>
              </a:endParaRPr>
            </a:p>
          </p:txBody>
        </p:sp>
        <p:sp>
          <p:nvSpPr>
            <p:cNvPr id="23" name="CustomShape 12">
              <a:extLst>
                <a:ext uri="{FF2B5EF4-FFF2-40B4-BE49-F238E27FC236}">
                  <a16:creationId xmlns:a16="http://schemas.microsoft.com/office/drawing/2014/main" id="{B1BF7886-381B-AA15-BCC6-AB3DC423A746}"/>
                </a:ext>
              </a:extLst>
            </p:cNvPr>
            <p:cNvSpPr/>
            <p:nvPr/>
          </p:nvSpPr>
          <p:spPr>
            <a:xfrm rot="5400000">
              <a:off x="934920" y="3248785"/>
              <a:ext cx="527400" cy="363960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 wrap="none" lIns="90000" tIns="45000" rIns="90000" bIns="45000">
              <a:spAutoFit/>
            </a:bodyPr>
            <a:lstStyle/>
            <a:p>
              <a:pPr algn="ctr">
                <a:lnSpc>
                  <a:spcPct val="100000"/>
                </a:lnSpc>
              </a:pPr>
              <a:r>
                <a:rPr lang="en-US" sz="1800" b="1" strike="noStrike" spc="-1">
                  <a:solidFill>
                    <a:srgbClr val="AB3348"/>
                  </a:solidFill>
                  <a:latin typeface="Times New Roman"/>
                  <a:ea typeface="DejaVu Sans"/>
                </a:rPr>
                <a:t>. . . </a:t>
              </a:r>
              <a:endParaRPr lang="en-US" sz="1800" b="0" strike="noStrike" spc="-1">
                <a:latin typeface="Arial"/>
              </a:endParaRPr>
            </a:p>
          </p:txBody>
        </p:sp>
        <p:sp>
          <p:nvSpPr>
            <p:cNvPr id="24" name="CustomShape 13">
              <a:extLst>
                <a:ext uri="{FF2B5EF4-FFF2-40B4-BE49-F238E27FC236}">
                  <a16:creationId xmlns:a16="http://schemas.microsoft.com/office/drawing/2014/main" id="{F2B19803-EEAB-BFA2-CF6C-13E30375B3A7}"/>
                </a:ext>
              </a:extLst>
            </p:cNvPr>
            <p:cNvSpPr/>
            <p:nvPr/>
          </p:nvSpPr>
          <p:spPr>
            <a:xfrm rot="5400000">
              <a:off x="4344840" y="1823905"/>
              <a:ext cx="527400" cy="363960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 wrap="none" lIns="90000" tIns="45000" rIns="90000" bIns="45000">
              <a:spAutoFit/>
            </a:bodyPr>
            <a:lstStyle/>
            <a:p>
              <a:pPr algn="ctr">
                <a:lnSpc>
                  <a:spcPct val="100000"/>
                </a:lnSpc>
              </a:pPr>
              <a:r>
                <a:rPr lang="en-US" sz="1800" b="1" strike="noStrike" spc="-1">
                  <a:solidFill>
                    <a:srgbClr val="AB3348"/>
                  </a:solidFill>
                  <a:latin typeface="Times New Roman"/>
                  <a:ea typeface="DejaVu Sans"/>
                </a:rPr>
                <a:t>. . . </a:t>
              </a:r>
              <a:endParaRPr lang="en-US" sz="1800" b="0" strike="noStrike" spc="-1">
                <a:latin typeface="Arial"/>
              </a:endParaRPr>
            </a:p>
          </p:txBody>
        </p:sp>
        <p:sp>
          <p:nvSpPr>
            <p:cNvPr id="25" name="CustomShape 14">
              <a:extLst>
                <a:ext uri="{FF2B5EF4-FFF2-40B4-BE49-F238E27FC236}">
                  <a16:creationId xmlns:a16="http://schemas.microsoft.com/office/drawing/2014/main" id="{6991B26C-8878-8292-1676-A0C467619970}"/>
                </a:ext>
              </a:extLst>
            </p:cNvPr>
            <p:cNvSpPr/>
            <p:nvPr/>
          </p:nvSpPr>
          <p:spPr>
            <a:xfrm rot="5400000">
              <a:off x="4344840" y="3111985"/>
              <a:ext cx="527400" cy="363960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 wrap="none" lIns="90000" tIns="45000" rIns="90000" bIns="45000">
              <a:spAutoFit/>
            </a:bodyPr>
            <a:lstStyle/>
            <a:p>
              <a:pPr algn="ctr">
                <a:lnSpc>
                  <a:spcPct val="100000"/>
                </a:lnSpc>
              </a:pPr>
              <a:r>
                <a:rPr lang="en-US" sz="1800" b="1" strike="noStrike" spc="-1">
                  <a:solidFill>
                    <a:srgbClr val="AB3348"/>
                  </a:solidFill>
                  <a:latin typeface="Times New Roman"/>
                  <a:ea typeface="DejaVu Sans"/>
                </a:rPr>
                <a:t>. . . </a:t>
              </a:r>
              <a:endParaRPr lang="en-US" sz="1800" b="0" strike="noStrike" spc="-1">
                <a:latin typeface="Arial"/>
              </a:endParaRPr>
            </a:p>
          </p:txBody>
        </p:sp>
        <p:sp>
          <p:nvSpPr>
            <p:cNvPr id="26" name="CustomShape 15">
              <a:extLst>
                <a:ext uri="{FF2B5EF4-FFF2-40B4-BE49-F238E27FC236}">
                  <a16:creationId xmlns:a16="http://schemas.microsoft.com/office/drawing/2014/main" id="{ED749B26-5544-C761-354C-6F650EA98F81}"/>
                </a:ext>
              </a:extLst>
            </p:cNvPr>
            <p:cNvSpPr/>
            <p:nvPr/>
          </p:nvSpPr>
          <p:spPr>
            <a:xfrm rot="5400000">
              <a:off x="7683840" y="2327905"/>
              <a:ext cx="527400" cy="363960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 wrap="none" lIns="90000" tIns="45000" rIns="90000" bIns="45000">
              <a:spAutoFit/>
            </a:bodyPr>
            <a:lstStyle/>
            <a:p>
              <a:pPr algn="ctr">
                <a:lnSpc>
                  <a:spcPct val="100000"/>
                </a:lnSpc>
              </a:pPr>
              <a:r>
                <a:rPr lang="en-US" sz="1800" b="1" strike="noStrike" spc="-1">
                  <a:solidFill>
                    <a:srgbClr val="AB3348"/>
                  </a:solidFill>
                  <a:latin typeface="Times New Roman"/>
                  <a:ea typeface="DejaVu Sans"/>
                </a:rPr>
                <a:t>. . . </a:t>
              </a:r>
              <a:endParaRPr lang="en-US" sz="1800" b="0" strike="noStrike" spc="-1">
                <a:latin typeface="Arial"/>
              </a:endParaRPr>
            </a:p>
          </p:txBody>
        </p:sp>
        <p:sp>
          <p:nvSpPr>
            <p:cNvPr id="27" name="CustomShape 16">
              <a:extLst>
                <a:ext uri="{FF2B5EF4-FFF2-40B4-BE49-F238E27FC236}">
                  <a16:creationId xmlns:a16="http://schemas.microsoft.com/office/drawing/2014/main" id="{C7EAC2D6-8BE0-1C95-FA3B-82DD6BE05503}"/>
                </a:ext>
              </a:extLst>
            </p:cNvPr>
            <p:cNvSpPr/>
            <p:nvPr/>
          </p:nvSpPr>
          <p:spPr>
            <a:xfrm rot="5400000">
              <a:off x="7683840" y="3538945"/>
              <a:ext cx="527400" cy="363960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 wrap="none" lIns="90000" tIns="45000" rIns="90000" bIns="45000">
              <a:spAutoFit/>
            </a:bodyPr>
            <a:lstStyle/>
            <a:p>
              <a:pPr algn="ctr">
                <a:lnSpc>
                  <a:spcPct val="100000"/>
                </a:lnSpc>
              </a:pPr>
              <a:r>
                <a:rPr lang="en-US" sz="1800" b="1" strike="noStrike" spc="-1">
                  <a:solidFill>
                    <a:srgbClr val="AB3348"/>
                  </a:solidFill>
                  <a:latin typeface="Times New Roman"/>
                  <a:ea typeface="DejaVu Sans"/>
                </a:rPr>
                <a:t>. . . </a:t>
              </a:r>
              <a:endParaRPr lang="en-US" sz="1800" b="0" strike="noStrike" spc="-1">
                <a:latin typeface="Arial"/>
              </a:endParaRPr>
            </a:p>
          </p:txBody>
        </p:sp>
        <p:sp>
          <p:nvSpPr>
            <p:cNvPr id="28" name="CustomShape 17">
              <a:extLst>
                <a:ext uri="{FF2B5EF4-FFF2-40B4-BE49-F238E27FC236}">
                  <a16:creationId xmlns:a16="http://schemas.microsoft.com/office/drawing/2014/main" id="{18DE2221-0FC4-5F8B-BD36-F34ADBAECF6F}"/>
                </a:ext>
              </a:extLst>
            </p:cNvPr>
            <p:cNvSpPr/>
            <p:nvPr/>
          </p:nvSpPr>
          <p:spPr>
            <a:xfrm>
              <a:off x="1011240" y="4515265"/>
              <a:ext cx="290520" cy="290520"/>
            </a:xfrm>
            <a:prstGeom prst="ellipse">
              <a:avLst/>
            </a:prstGeom>
            <a:solidFill>
              <a:srgbClr val="AB3348"/>
            </a:solidFill>
            <a:ln>
              <a:round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/>
          </p:style>
        </p:sp>
        <p:sp>
          <p:nvSpPr>
            <p:cNvPr id="29" name="CustomShape 18">
              <a:extLst>
                <a:ext uri="{FF2B5EF4-FFF2-40B4-BE49-F238E27FC236}">
                  <a16:creationId xmlns:a16="http://schemas.microsoft.com/office/drawing/2014/main" id="{7B4634FD-936A-3166-0B8D-B5F5B3FFF616}"/>
                </a:ext>
              </a:extLst>
            </p:cNvPr>
            <p:cNvSpPr/>
            <p:nvPr/>
          </p:nvSpPr>
          <p:spPr>
            <a:xfrm>
              <a:off x="4409280" y="4572505"/>
              <a:ext cx="290520" cy="290520"/>
            </a:xfrm>
            <a:prstGeom prst="ellipse">
              <a:avLst/>
            </a:prstGeom>
            <a:solidFill>
              <a:srgbClr val="AB3348"/>
            </a:solidFill>
            <a:ln>
              <a:round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/>
          </p:style>
        </p:sp>
        <p:pic>
          <p:nvPicPr>
            <p:cNvPr id="30" name="Picture 5">
              <a:extLst>
                <a:ext uri="{FF2B5EF4-FFF2-40B4-BE49-F238E27FC236}">
                  <a16:creationId xmlns:a16="http://schemas.microsoft.com/office/drawing/2014/main" id="{972FEF42-D19C-F482-C29E-220EE5488D38}"/>
                </a:ext>
              </a:extLst>
            </p:cNvPr>
            <p:cNvPicPr/>
            <p:nvPr/>
          </p:nvPicPr>
          <p:blipFill>
            <a:blip r:embed="rId7"/>
            <a:stretch/>
          </p:blipFill>
          <p:spPr>
            <a:xfrm>
              <a:off x="614520" y="4650985"/>
              <a:ext cx="276120" cy="199080"/>
            </a:xfrm>
            <a:prstGeom prst="rect">
              <a:avLst/>
            </a:prstGeom>
            <a:ln>
              <a:noFill/>
            </a:ln>
          </p:spPr>
        </p:pic>
        <p:pic>
          <p:nvPicPr>
            <p:cNvPr id="31" name="Picture 7">
              <a:extLst>
                <a:ext uri="{FF2B5EF4-FFF2-40B4-BE49-F238E27FC236}">
                  <a16:creationId xmlns:a16="http://schemas.microsoft.com/office/drawing/2014/main" id="{F52E7E66-CCEF-FBA4-CC00-6BECD17F8C83}"/>
                </a:ext>
              </a:extLst>
            </p:cNvPr>
            <p:cNvPicPr/>
            <p:nvPr/>
          </p:nvPicPr>
          <p:blipFill>
            <a:blip r:embed="rId8"/>
            <a:stretch/>
          </p:blipFill>
          <p:spPr>
            <a:xfrm>
              <a:off x="614520" y="3832345"/>
              <a:ext cx="270360" cy="196200"/>
            </a:xfrm>
            <a:prstGeom prst="rect">
              <a:avLst/>
            </a:prstGeom>
            <a:ln>
              <a:noFill/>
            </a:ln>
          </p:spPr>
        </p:pic>
        <p:pic>
          <p:nvPicPr>
            <p:cNvPr id="32" name="Picture 9">
              <a:extLst>
                <a:ext uri="{FF2B5EF4-FFF2-40B4-BE49-F238E27FC236}">
                  <a16:creationId xmlns:a16="http://schemas.microsoft.com/office/drawing/2014/main" id="{609BC6A6-69F4-40D3-65AD-914BB3E92F56}"/>
                </a:ext>
              </a:extLst>
            </p:cNvPr>
            <p:cNvPicPr/>
            <p:nvPr/>
          </p:nvPicPr>
          <p:blipFill>
            <a:blip r:embed="rId9"/>
            <a:stretch/>
          </p:blipFill>
          <p:spPr>
            <a:xfrm>
              <a:off x="614520" y="2773585"/>
              <a:ext cx="250560" cy="199080"/>
            </a:xfrm>
            <a:prstGeom prst="rect">
              <a:avLst/>
            </a:prstGeom>
            <a:ln>
              <a:noFill/>
            </a:ln>
          </p:spPr>
        </p:pic>
        <p:pic>
          <p:nvPicPr>
            <p:cNvPr id="33" name="Picture 35">
              <a:extLst>
                <a:ext uri="{FF2B5EF4-FFF2-40B4-BE49-F238E27FC236}">
                  <a16:creationId xmlns:a16="http://schemas.microsoft.com/office/drawing/2014/main" id="{E67092B4-77A5-A6D9-C41D-77FADCEFD897}"/>
                </a:ext>
              </a:extLst>
            </p:cNvPr>
            <p:cNvPicPr/>
            <p:nvPr/>
          </p:nvPicPr>
          <p:blipFill>
            <a:blip r:embed="rId10"/>
            <a:stretch/>
          </p:blipFill>
          <p:spPr>
            <a:xfrm>
              <a:off x="614520" y="1839025"/>
              <a:ext cx="284760" cy="227520"/>
            </a:xfrm>
            <a:prstGeom prst="rect">
              <a:avLst/>
            </a:prstGeom>
            <a:ln>
              <a:noFill/>
            </a:ln>
          </p:spPr>
        </p:pic>
        <p:sp>
          <p:nvSpPr>
            <p:cNvPr id="34" name="Line 19">
              <a:extLst>
                <a:ext uri="{FF2B5EF4-FFF2-40B4-BE49-F238E27FC236}">
                  <a16:creationId xmlns:a16="http://schemas.microsoft.com/office/drawing/2014/main" id="{CAC52E26-25AE-48FD-9338-2E03F58ED904}"/>
                </a:ext>
              </a:extLst>
            </p:cNvPr>
            <p:cNvSpPr/>
            <p:nvPr/>
          </p:nvSpPr>
          <p:spPr>
            <a:xfrm flipV="1">
              <a:off x="1302840" y="1458145"/>
              <a:ext cx="3106440" cy="486720"/>
            </a:xfrm>
            <a:prstGeom prst="line">
              <a:avLst/>
            </a:prstGeom>
            <a:ln>
              <a:solidFill>
                <a:srgbClr val="BA0033"/>
              </a:solidFill>
              <a:round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/>
          </p:style>
        </p:sp>
        <p:sp>
          <p:nvSpPr>
            <p:cNvPr id="35" name="Line 20">
              <a:extLst>
                <a:ext uri="{FF2B5EF4-FFF2-40B4-BE49-F238E27FC236}">
                  <a16:creationId xmlns:a16="http://schemas.microsoft.com/office/drawing/2014/main" id="{884A3221-06E6-F038-283A-F2261B64FB5B}"/>
                </a:ext>
              </a:extLst>
            </p:cNvPr>
            <p:cNvSpPr/>
            <p:nvPr/>
          </p:nvSpPr>
          <p:spPr>
            <a:xfrm>
              <a:off x="1302840" y="1944865"/>
              <a:ext cx="3106440" cy="529200"/>
            </a:xfrm>
            <a:prstGeom prst="line">
              <a:avLst/>
            </a:prstGeom>
            <a:ln>
              <a:solidFill>
                <a:srgbClr val="BA0033"/>
              </a:solidFill>
              <a:round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/>
          </p:style>
        </p:sp>
        <p:sp>
          <p:nvSpPr>
            <p:cNvPr id="36" name="Line 21">
              <a:extLst>
                <a:ext uri="{FF2B5EF4-FFF2-40B4-BE49-F238E27FC236}">
                  <a16:creationId xmlns:a16="http://schemas.microsoft.com/office/drawing/2014/main" id="{B90EEF11-1F51-AFC9-F576-4D5487B7B6FA}"/>
                </a:ext>
              </a:extLst>
            </p:cNvPr>
            <p:cNvSpPr/>
            <p:nvPr/>
          </p:nvSpPr>
          <p:spPr>
            <a:xfrm>
              <a:off x="1302840" y="1944865"/>
              <a:ext cx="3106440" cy="2043000"/>
            </a:xfrm>
            <a:prstGeom prst="line">
              <a:avLst/>
            </a:prstGeom>
            <a:ln>
              <a:solidFill>
                <a:srgbClr val="BA0033"/>
              </a:solidFill>
              <a:round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/>
          </p:style>
        </p:sp>
        <p:sp>
          <p:nvSpPr>
            <p:cNvPr id="37" name="Line 22">
              <a:extLst>
                <a:ext uri="{FF2B5EF4-FFF2-40B4-BE49-F238E27FC236}">
                  <a16:creationId xmlns:a16="http://schemas.microsoft.com/office/drawing/2014/main" id="{DEAE82F1-2F0E-CE8A-3F5A-8958A37ACCC1}"/>
                </a:ext>
              </a:extLst>
            </p:cNvPr>
            <p:cNvSpPr/>
            <p:nvPr/>
          </p:nvSpPr>
          <p:spPr>
            <a:xfrm flipV="1">
              <a:off x="1302840" y="1458145"/>
              <a:ext cx="3106440" cy="1413000"/>
            </a:xfrm>
            <a:prstGeom prst="line">
              <a:avLst/>
            </a:prstGeom>
            <a:ln>
              <a:solidFill>
                <a:srgbClr val="BA0033"/>
              </a:solidFill>
              <a:round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/>
          </p:style>
        </p:sp>
        <p:sp>
          <p:nvSpPr>
            <p:cNvPr id="38" name="Line 23">
              <a:extLst>
                <a:ext uri="{FF2B5EF4-FFF2-40B4-BE49-F238E27FC236}">
                  <a16:creationId xmlns:a16="http://schemas.microsoft.com/office/drawing/2014/main" id="{165FFCAE-3F8E-F201-B3B1-2C63CC299C4B}"/>
                </a:ext>
              </a:extLst>
            </p:cNvPr>
            <p:cNvSpPr/>
            <p:nvPr/>
          </p:nvSpPr>
          <p:spPr>
            <a:xfrm flipV="1">
              <a:off x="1302840" y="2474065"/>
              <a:ext cx="3106440" cy="397080"/>
            </a:xfrm>
            <a:prstGeom prst="line">
              <a:avLst/>
            </a:prstGeom>
            <a:ln w="38160">
              <a:solidFill>
                <a:srgbClr val="BA0033"/>
              </a:solidFill>
              <a:round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/>
          </p:style>
        </p:sp>
        <p:sp>
          <p:nvSpPr>
            <p:cNvPr id="39" name="Line 24">
              <a:extLst>
                <a:ext uri="{FF2B5EF4-FFF2-40B4-BE49-F238E27FC236}">
                  <a16:creationId xmlns:a16="http://schemas.microsoft.com/office/drawing/2014/main" id="{B93732AB-CD89-8E24-0FD1-03D8B37563A3}"/>
                </a:ext>
              </a:extLst>
            </p:cNvPr>
            <p:cNvSpPr/>
            <p:nvPr/>
          </p:nvSpPr>
          <p:spPr>
            <a:xfrm>
              <a:off x="1302840" y="2871145"/>
              <a:ext cx="3106440" cy="1116720"/>
            </a:xfrm>
            <a:prstGeom prst="line">
              <a:avLst/>
            </a:prstGeom>
            <a:ln>
              <a:solidFill>
                <a:srgbClr val="BA0033"/>
              </a:solidFill>
              <a:round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/>
          </p:style>
        </p:sp>
        <p:sp>
          <p:nvSpPr>
            <p:cNvPr id="40" name="Line 25">
              <a:extLst>
                <a:ext uri="{FF2B5EF4-FFF2-40B4-BE49-F238E27FC236}">
                  <a16:creationId xmlns:a16="http://schemas.microsoft.com/office/drawing/2014/main" id="{89DA3EAE-6CEE-1176-34EE-4A17371BE545}"/>
                </a:ext>
              </a:extLst>
            </p:cNvPr>
            <p:cNvSpPr/>
            <p:nvPr/>
          </p:nvSpPr>
          <p:spPr>
            <a:xfrm>
              <a:off x="1302840" y="3930625"/>
              <a:ext cx="3106440" cy="57240"/>
            </a:xfrm>
            <a:prstGeom prst="line">
              <a:avLst/>
            </a:prstGeom>
            <a:ln>
              <a:solidFill>
                <a:srgbClr val="BA0033"/>
              </a:solidFill>
              <a:round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/>
          </p:style>
        </p:sp>
        <p:sp>
          <p:nvSpPr>
            <p:cNvPr id="41" name="Line 26">
              <a:extLst>
                <a:ext uri="{FF2B5EF4-FFF2-40B4-BE49-F238E27FC236}">
                  <a16:creationId xmlns:a16="http://schemas.microsoft.com/office/drawing/2014/main" id="{84B6C258-6C54-F980-571E-FEE4DD831813}"/>
                </a:ext>
              </a:extLst>
            </p:cNvPr>
            <p:cNvSpPr/>
            <p:nvPr/>
          </p:nvSpPr>
          <p:spPr>
            <a:xfrm flipV="1">
              <a:off x="1302840" y="2474065"/>
              <a:ext cx="3106440" cy="1456560"/>
            </a:xfrm>
            <a:prstGeom prst="line">
              <a:avLst/>
            </a:prstGeom>
            <a:ln>
              <a:solidFill>
                <a:srgbClr val="BA0033"/>
              </a:solidFill>
              <a:round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/>
          </p:style>
        </p:sp>
        <p:sp>
          <p:nvSpPr>
            <p:cNvPr id="42" name="Line 27">
              <a:extLst>
                <a:ext uri="{FF2B5EF4-FFF2-40B4-BE49-F238E27FC236}">
                  <a16:creationId xmlns:a16="http://schemas.microsoft.com/office/drawing/2014/main" id="{F40196B0-A06D-299F-1F50-A5296C7170B2}"/>
                </a:ext>
              </a:extLst>
            </p:cNvPr>
            <p:cNvSpPr/>
            <p:nvPr/>
          </p:nvSpPr>
          <p:spPr>
            <a:xfrm flipV="1">
              <a:off x="1302840" y="1458145"/>
              <a:ext cx="3106440" cy="2472480"/>
            </a:xfrm>
            <a:prstGeom prst="line">
              <a:avLst/>
            </a:prstGeom>
            <a:ln>
              <a:solidFill>
                <a:srgbClr val="BA0033"/>
              </a:solidFill>
              <a:round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/>
          </p:style>
        </p:sp>
        <p:sp>
          <p:nvSpPr>
            <p:cNvPr id="43" name="Line 28">
              <a:extLst>
                <a:ext uri="{FF2B5EF4-FFF2-40B4-BE49-F238E27FC236}">
                  <a16:creationId xmlns:a16="http://schemas.microsoft.com/office/drawing/2014/main" id="{57DC26BD-3893-9321-073E-E9806CCCD5C9}"/>
                </a:ext>
              </a:extLst>
            </p:cNvPr>
            <p:cNvSpPr/>
            <p:nvPr/>
          </p:nvSpPr>
          <p:spPr>
            <a:xfrm>
              <a:off x="4700880" y="1458145"/>
              <a:ext cx="3057480" cy="543960"/>
            </a:xfrm>
            <a:prstGeom prst="line">
              <a:avLst/>
            </a:prstGeom>
            <a:ln>
              <a:solidFill>
                <a:srgbClr val="BA0033"/>
              </a:solidFill>
              <a:round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/>
          </p:style>
        </p:sp>
        <p:sp>
          <p:nvSpPr>
            <p:cNvPr id="44" name="Line 29">
              <a:extLst>
                <a:ext uri="{FF2B5EF4-FFF2-40B4-BE49-F238E27FC236}">
                  <a16:creationId xmlns:a16="http://schemas.microsoft.com/office/drawing/2014/main" id="{7DBC1BF6-0481-D3BC-0554-FA8B2D6B0E97}"/>
                </a:ext>
              </a:extLst>
            </p:cNvPr>
            <p:cNvSpPr/>
            <p:nvPr/>
          </p:nvSpPr>
          <p:spPr>
            <a:xfrm flipV="1">
              <a:off x="4700880" y="2002105"/>
              <a:ext cx="3057480" cy="471960"/>
            </a:xfrm>
            <a:prstGeom prst="line">
              <a:avLst/>
            </a:prstGeom>
            <a:ln>
              <a:solidFill>
                <a:srgbClr val="BA0033"/>
              </a:solidFill>
              <a:round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/>
          </p:style>
        </p:sp>
        <p:sp>
          <p:nvSpPr>
            <p:cNvPr id="45" name="Line 30">
              <a:extLst>
                <a:ext uri="{FF2B5EF4-FFF2-40B4-BE49-F238E27FC236}">
                  <a16:creationId xmlns:a16="http://schemas.microsoft.com/office/drawing/2014/main" id="{2A126866-C0BC-4F48-4B10-93D881E08DA5}"/>
                </a:ext>
              </a:extLst>
            </p:cNvPr>
            <p:cNvSpPr/>
            <p:nvPr/>
          </p:nvSpPr>
          <p:spPr>
            <a:xfrm>
              <a:off x="4700880" y="2474065"/>
              <a:ext cx="3057480" cy="666720"/>
            </a:xfrm>
            <a:prstGeom prst="line">
              <a:avLst/>
            </a:prstGeom>
            <a:ln w="38160">
              <a:solidFill>
                <a:srgbClr val="BA0033"/>
              </a:solidFill>
              <a:round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/>
          </p:style>
        </p:sp>
        <p:sp>
          <p:nvSpPr>
            <p:cNvPr id="46" name="Line 31">
              <a:extLst>
                <a:ext uri="{FF2B5EF4-FFF2-40B4-BE49-F238E27FC236}">
                  <a16:creationId xmlns:a16="http://schemas.microsoft.com/office/drawing/2014/main" id="{5F609DF9-44AA-428C-8CD5-9F016DC05E12}"/>
                </a:ext>
              </a:extLst>
            </p:cNvPr>
            <p:cNvSpPr/>
            <p:nvPr/>
          </p:nvSpPr>
          <p:spPr>
            <a:xfrm>
              <a:off x="4700880" y="2474065"/>
              <a:ext cx="3057480" cy="1917000"/>
            </a:xfrm>
            <a:prstGeom prst="line">
              <a:avLst/>
            </a:prstGeom>
            <a:ln>
              <a:solidFill>
                <a:srgbClr val="BA0033"/>
              </a:solidFill>
              <a:round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/>
          </p:style>
        </p:sp>
        <p:sp>
          <p:nvSpPr>
            <p:cNvPr id="47" name="Line 32">
              <a:extLst>
                <a:ext uri="{FF2B5EF4-FFF2-40B4-BE49-F238E27FC236}">
                  <a16:creationId xmlns:a16="http://schemas.microsoft.com/office/drawing/2014/main" id="{6BE5B710-90CD-DBBA-9F37-821331B42F19}"/>
                </a:ext>
              </a:extLst>
            </p:cNvPr>
            <p:cNvSpPr/>
            <p:nvPr/>
          </p:nvSpPr>
          <p:spPr>
            <a:xfrm>
              <a:off x="4700880" y="3987865"/>
              <a:ext cx="3057480" cy="403200"/>
            </a:xfrm>
            <a:prstGeom prst="line">
              <a:avLst/>
            </a:prstGeom>
            <a:ln>
              <a:solidFill>
                <a:srgbClr val="BA0033"/>
              </a:solidFill>
              <a:round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/>
          </p:style>
        </p:sp>
        <p:sp>
          <p:nvSpPr>
            <p:cNvPr id="48" name="Line 33">
              <a:extLst>
                <a:ext uri="{FF2B5EF4-FFF2-40B4-BE49-F238E27FC236}">
                  <a16:creationId xmlns:a16="http://schemas.microsoft.com/office/drawing/2014/main" id="{6CA1BF80-3C7E-47D6-9D92-2BD995D17CEE}"/>
                </a:ext>
              </a:extLst>
            </p:cNvPr>
            <p:cNvSpPr/>
            <p:nvPr/>
          </p:nvSpPr>
          <p:spPr>
            <a:xfrm flipV="1">
              <a:off x="4700880" y="3140785"/>
              <a:ext cx="3057480" cy="847080"/>
            </a:xfrm>
            <a:prstGeom prst="line">
              <a:avLst/>
            </a:prstGeom>
            <a:ln>
              <a:solidFill>
                <a:srgbClr val="BA0033"/>
              </a:solidFill>
              <a:round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/>
          </p:style>
        </p:sp>
        <p:sp>
          <p:nvSpPr>
            <p:cNvPr id="49" name="Line 34">
              <a:extLst>
                <a:ext uri="{FF2B5EF4-FFF2-40B4-BE49-F238E27FC236}">
                  <a16:creationId xmlns:a16="http://schemas.microsoft.com/office/drawing/2014/main" id="{1399B0D4-1B11-3FE4-DA6B-45B7D9D74C23}"/>
                </a:ext>
              </a:extLst>
            </p:cNvPr>
            <p:cNvSpPr/>
            <p:nvPr/>
          </p:nvSpPr>
          <p:spPr>
            <a:xfrm flipV="1">
              <a:off x="4700880" y="2002105"/>
              <a:ext cx="3057480" cy="1985760"/>
            </a:xfrm>
            <a:prstGeom prst="line">
              <a:avLst/>
            </a:prstGeom>
            <a:ln>
              <a:solidFill>
                <a:srgbClr val="BA0033"/>
              </a:solidFill>
              <a:round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/>
          </p:style>
        </p:sp>
        <p:sp>
          <p:nvSpPr>
            <p:cNvPr id="50" name="Line 35">
              <a:extLst>
                <a:ext uri="{FF2B5EF4-FFF2-40B4-BE49-F238E27FC236}">
                  <a16:creationId xmlns:a16="http://schemas.microsoft.com/office/drawing/2014/main" id="{B38A3E66-97D2-08C8-EC4C-256786EAC324}"/>
                </a:ext>
              </a:extLst>
            </p:cNvPr>
            <p:cNvSpPr/>
            <p:nvPr/>
          </p:nvSpPr>
          <p:spPr>
            <a:xfrm>
              <a:off x="4700880" y="1458145"/>
              <a:ext cx="3057480" cy="1682640"/>
            </a:xfrm>
            <a:prstGeom prst="line">
              <a:avLst/>
            </a:prstGeom>
            <a:ln>
              <a:solidFill>
                <a:srgbClr val="BA0033"/>
              </a:solidFill>
              <a:round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/>
          </p:style>
        </p:sp>
        <p:sp>
          <p:nvSpPr>
            <p:cNvPr id="51" name="Line 36">
              <a:extLst>
                <a:ext uri="{FF2B5EF4-FFF2-40B4-BE49-F238E27FC236}">
                  <a16:creationId xmlns:a16="http://schemas.microsoft.com/office/drawing/2014/main" id="{08B57922-B4F1-AE87-8E74-65C86E7D112F}"/>
                </a:ext>
              </a:extLst>
            </p:cNvPr>
            <p:cNvSpPr/>
            <p:nvPr/>
          </p:nvSpPr>
          <p:spPr>
            <a:xfrm>
              <a:off x="4700880" y="1458145"/>
              <a:ext cx="3057480" cy="2932920"/>
            </a:xfrm>
            <a:prstGeom prst="line">
              <a:avLst/>
            </a:prstGeom>
            <a:ln>
              <a:solidFill>
                <a:srgbClr val="BA0033"/>
              </a:solidFill>
              <a:round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/>
          </p:style>
        </p:sp>
        <p:sp>
          <p:nvSpPr>
            <p:cNvPr id="52" name="Line 37">
              <a:extLst>
                <a:ext uri="{FF2B5EF4-FFF2-40B4-BE49-F238E27FC236}">
                  <a16:creationId xmlns:a16="http://schemas.microsoft.com/office/drawing/2014/main" id="{90E96AED-31D3-DAE6-DFF2-F9889AD1D1AF}"/>
                </a:ext>
              </a:extLst>
            </p:cNvPr>
            <p:cNvSpPr/>
            <p:nvPr/>
          </p:nvSpPr>
          <p:spPr>
            <a:xfrm flipV="1">
              <a:off x="4700880" y="2002105"/>
              <a:ext cx="3057480" cy="2716200"/>
            </a:xfrm>
            <a:prstGeom prst="line">
              <a:avLst/>
            </a:prstGeom>
            <a:ln>
              <a:solidFill>
                <a:srgbClr val="BA0033"/>
              </a:solidFill>
              <a:round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/>
          </p:style>
        </p:sp>
        <p:sp>
          <p:nvSpPr>
            <p:cNvPr id="53" name="Line 38">
              <a:extLst>
                <a:ext uri="{FF2B5EF4-FFF2-40B4-BE49-F238E27FC236}">
                  <a16:creationId xmlns:a16="http://schemas.microsoft.com/office/drawing/2014/main" id="{8307D3C2-36F0-6524-9EC3-4343495B6990}"/>
                </a:ext>
              </a:extLst>
            </p:cNvPr>
            <p:cNvSpPr/>
            <p:nvPr/>
          </p:nvSpPr>
          <p:spPr>
            <a:xfrm flipV="1">
              <a:off x="4700880" y="3140785"/>
              <a:ext cx="3057480" cy="1577520"/>
            </a:xfrm>
            <a:prstGeom prst="line">
              <a:avLst/>
            </a:prstGeom>
            <a:ln>
              <a:solidFill>
                <a:srgbClr val="BA0033"/>
              </a:solidFill>
              <a:round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/>
          </p:style>
        </p:sp>
        <p:sp>
          <p:nvSpPr>
            <p:cNvPr id="54" name="Line 39">
              <a:extLst>
                <a:ext uri="{FF2B5EF4-FFF2-40B4-BE49-F238E27FC236}">
                  <a16:creationId xmlns:a16="http://schemas.microsoft.com/office/drawing/2014/main" id="{675367E9-1AA2-BA2B-A0DC-A66E5C4E325B}"/>
                </a:ext>
              </a:extLst>
            </p:cNvPr>
            <p:cNvSpPr/>
            <p:nvPr/>
          </p:nvSpPr>
          <p:spPr>
            <a:xfrm flipV="1">
              <a:off x="4700880" y="4391065"/>
              <a:ext cx="3057480" cy="327240"/>
            </a:xfrm>
            <a:prstGeom prst="line">
              <a:avLst/>
            </a:prstGeom>
            <a:ln>
              <a:solidFill>
                <a:srgbClr val="BA0033"/>
              </a:solidFill>
              <a:round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/>
          </p:style>
        </p:sp>
        <p:sp>
          <p:nvSpPr>
            <p:cNvPr id="55" name="Line 40">
              <a:extLst>
                <a:ext uri="{FF2B5EF4-FFF2-40B4-BE49-F238E27FC236}">
                  <a16:creationId xmlns:a16="http://schemas.microsoft.com/office/drawing/2014/main" id="{ECC6CEFF-EA9E-3F78-42C8-4A04840C7DCA}"/>
                </a:ext>
              </a:extLst>
            </p:cNvPr>
            <p:cNvSpPr/>
            <p:nvPr/>
          </p:nvSpPr>
          <p:spPr>
            <a:xfrm flipV="1">
              <a:off x="1302840" y="1458145"/>
              <a:ext cx="3106440" cy="3202920"/>
            </a:xfrm>
            <a:prstGeom prst="line">
              <a:avLst/>
            </a:prstGeom>
            <a:ln>
              <a:solidFill>
                <a:srgbClr val="BA0033"/>
              </a:solidFill>
              <a:round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/>
          </p:style>
        </p:sp>
        <p:sp>
          <p:nvSpPr>
            <p:cNvPr id="56" name="Line 41">
              <a:extLst>
                <a:ext uri="{FF2B5EF4-FFF2-40B4-BE49-F238E27FC236}">
                  <a16:creationId xmlns:a16="http://schemas.microsoft.com/office/drawing/2014/main" id="{B41D0954-1EEC-369E-8098-FA8930A7FC7E}"/>
                </a:ext>
              </a:extLst>
            </p:cNvPr>
            <p:cNvSpPr/>
            <p:nvPr/>
          </p:nvSpPr>
          <p:spPr>
            <a:xfrm flipV="1">
              <a:off x="1302840" y="2474065"/>
              <a:ext cx="3106440" cy="2187000"/>
            </a:xfrm>
            <a:prstGeom prst="line">
              <a:avLst/>
            </a:prstGeom>
            <a:ln>
              <a:solidFill>
                <a:srgbClr val="BA0033"/>
              </a:solidFill>
              <a:round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/>
          </p:style>
        </p:sp>
        <p:sp>
          <p:nvSpPr>
            <p:cNvPr id="57" name="Line 42">
              <a:extLst>
                <a:ext uri="{FF2B5EF4-FFF2-40B4-BE49-F238E27FC236}">
                  <a16:creationId xmlns:a16="http://schemas.microsoft.com/office/drawing/2014/main" id="{2F20DE5F-2E63-E7A0-7EF3-7E68AF5E5093}"/>
                </a:ext>
              </a:extLst>
            </p:cNvPr>
            <p:cNvSpPr/>
            <p:nvPr/>
          </p:nvSpPr>
          <p:spPr>
            <a:xfrm flipV="1">
              <a:off x="1302840" y="3987865"/>
              <a:ext cx="3106440" cy="673200"/>
            </a:xfrm>
            <a:prstGeom prst="line">
              <a:avLst/>
            </a:prstGeom>
            <a:ln>
              <a:solidFill>
                <a:srgbClr val="BA0033"/>
              </a:solidFill>
              <a:round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/>
          </p:style>
        </p:sp>
        <p:pic>
          <p:nvPicPr>
            <p:cNvPr id="58" name="Picture 113">
              <a:extLst>
                <a:ext uri="{FF2B5EF4-FFF2-40B4-BE49-F238E27FC236}">
                  <a16:creationId xmlns:a16="http://schemas.microsoft.com/office/drawing/2014/main" id="{07817E5E-BEFD-7426-6E89-889FC6008C33}"/>
                </a:ext>
              </a:extLst>
            </p:cNvPr>
            <p:cNvPicPr/>
            <p:nvPr/>
          </p:nvPicPr>
          <p:blipFill>
            <a:blip r:embed="rId11"/>
            <a:stretch/>
          </p:blipFill>
          <p:spPr>
            <a:xfrm>
              <a:off x="4215960" y="4418425"/>
              <a:ext cx="187560" cy="141840"/>
            </a:xfrm>
            <a:prstGeom prst="rect">
              <a:avLst/>
            </a:prstGeom>
            <a:ln>
              <a:noFill/>
            </a:ln>
          </p:spPr>
        </p:pic>
        <p:pic>
          <p:nvPicPr>
            <p:cNvPr id="59" name="Picture 115">
              <a:extLst>
                <a:ext uri="{FF2B5EF4-FFF2-40B4-BE49-F238E27FC236}">
                  <a16:creationId xmlns:a16="http://schemas.microsoft.com/office/drawing/2014/main" id="{10F6438F-2583-8FBA-41F9-46BBC1D13A42}"/>
                </a:ext>
              </a:extLst>
            </p:cNvPr>
            <p:cNvPicPr/>
            <p:nvPr/>
          </p:nvPicPr>
          <p:blipFill>
            <a:blip r:embed="rId12"/>
            <a:stretch/>
          </p:blipFill>
          <p:spPr>
            <a:xfrm>
              <a:off x="4215960" y="2179225"/>
              <a:ext cx="176040" cy="173160"/>
            </a:xfrm>
            <a:prstGeom prst="rect">
              <a:avLst/>
            </a:prstGeom>
            <a:ln>
              <a:noFill/>
            </a:ln>
          </p:spPr>
        </p:pic>
        <p:pic>
          <p:nvPicPr>
            <p:cNvPr id="60" name="Picture 117">
              <a:extLst>
                <a:ext uri="{FF2B5EF4-FFF2-40B4-BE49-F238E27FC236}">
                  <a16:creationId xmlns:a16="http://schemas.microsoft.com/office/drawing/2014/main" id="{D2286288-C949-28E4-81FE-D48EB201F3A7}"/>
                </a:ext>
              </a:extLst>
            </p:cNvPr>
            <p:cNvPicPr/>
            <p:nvPr/>
          </p:nvPicPr>
          <p:blipFill>
            <a:blip r:embed="rId13"/>
            <a:stretch/>
          </p:blipFill>
          <p:spPr>
            <a:xfrm>
              <a:off x="4187880" y="1117225"/>
              <a:ext cx="293400" cy="138960"/>
            </a:xfrm>
            <a:prstGeom prst="rect">
              <a:avLst/>
            </a:prstGeom>
            <a:ln>
              <a:noFill/>
            </a:ln>
          </p:spPr>
        </p:pic>
        <p:pic>
          <p:nvPicPr>
            <p:cNvPr id="61" name="Picture 119">
              <a:extLst>
                <a:ext uri="{FF2B5EF4-FFF2-40B4-BE49-F238E27FC236}">
                  <a16:creationId xmlns:a16="http://schemas.microsoft.com/office/drawing/2014/main" id="{506307F5-2E01-2067-5C18-AC8BAE42073B}"/>
                </a:ext>
              </a:extLst>
            </p:cNvPr>
            <p:cNvPicPr/>
            <p:nvPr/>
          </p:nvPicPr>
          <p:blipFill>
            <a:blip r:embed="rId14"/>
            <a:stretch/>
          </p:blipFill>
          <p:spPr>
            <a:xfrm>
              <a:off x="4215960" y="3667825"/>
              <a:ext cx="181800" cy="138960"/>
            </a:xfrm>
            <a:prstGeom prst="rect">
              <a:avLst/>
            </a:prstGeom>
            <a:ln>
              <a:noFill/>
            </a:ln>
          </p:spPr>
        </p:pic>
        <p:pic>
          <p:nvPicPr>
            <p:cNvPr id="62" name="Picture 143">
              <a:extLst>
                <a:ext uri="{FF2B5EF4-FFF2-40B4-BE49-F238E27FC236}">
                  <a16:creationId xmlns:a16="http://schemas.microsoft.com/office/drawing/2014/main" id="{07167B35-8E14-5874-40BC-5E5485836CA6}"/>
                </a:ext>
              </a:extLst>
            </p:cNvPr>
            <p:cNvPicPr/>
            <p:nvPr/>
          </p:nvPicPr>
          <p:blipFill>
            <a:blip r:embed="rId15"/>
            <a:stretch/>
          </p:blipFill>
          <p:spPr>
            <a:xfrm>
              <a:off x="2490840" y="2286865"/>
              <a:ext cx="364680" cy="344520"/>
            </a:xfrm>
            <a:prstGeom prst="rect">
              <a:avLst/>
            </a:prstGeom>
            <a:ln>
              <a:noFill/>
            </a:ln>
          </p:spPr>
        </p:pic>
        <p:pic>
          <p:nvPicPr>
            <p:cNvPr id="63" name="Picture 62">
              <a:extLst>
                <a:ext uri="{FF2B5EF4-FFF2-40B4-BE49-F238E27FC236}">
                  <a16:creationId xmlns:a16="http://schemas.microsoft.com/office/drawing/2014/main" id="{428402E6-C0EF-F5EA-8786-2B24E80C2996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/>
            <a:stretch/>
          </p:blipFill>
          <p:spPr>
            <a:xfrm>
              <a:off x="8177349" y="1768112"/>
              <a:ext cx="285750" cy="352425"/>
            </a:xfrm>
            <a:prstGeom prst="rect">
              <a:avLst/>
            </a:prstGeom>
            <a:ln>
              <a:noFill/>
            </a:ln>
          </p:spPr>
        </p:pic>
        <p:pic>
          <p:nvPicPr>
            <p:cNvPr id="64" name="Picture 63">
              <a:extLst>
                <a:ext uri="{FF2B5EF4-FFF2-40B4-BE49-F238E27FC236}">
                  <a16:creationId xmlns:a16="http://schemas.microsoft.com/office/drawing/2014/main" id="{A987FC72-D98D-75EB-1F1B-E64FC9D48D1D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/>
            <a:stretch/>
          </p:blipFill>
          <p:spPr>
            <a:xfrm>
              <a:off x="8129520" y="4327420"/>
              <a:ext cx="285750" cy="323850"/>
            </a:xfrm>
            <a:prstGeom prst="rect">
              <a:avLst/>
            </a:prstGeom>
            <a:ln>
              <a:noFill/>
            </a:ln>
          </p:spPr>
        </p:pic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1A780A3C-363A-D249-27DF-743CE4AF115B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/>
            <a:stretch/>
          </p:blipFill>
          <p:spPr>
            <a:xfrm>
              <a:off x="8127360" y="2952505"/>
              <a:ext cx="261938" cy="323850"/>
            </a:xfrm>
            <a:prstGeom prst="rect">
              <a:avLst/>
            </a:prstGeom>
            <a:ln>
              <a:noFill/>
            </a:ln>
          </p:spPr>
        </p:pic>
        <p:pic>
          <p:nvPicPr>
            <p:cNvPr id="66" name="Picture 65">
              <a:extLst>
                <a:ext uri="{FF2B5EF4-FFF2-40B4-BE49-F238E27FC236}">
                  <a16:creationId xmlns:a16="http://schemas.microsoft.com/office/drawing/2014/main" id="{86F48450-5A36-4832-03DE-D933630CF831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/>
            <a:stretch/>
          </p:blipFill>
          <p:spPr>
            <a:xfrm>
              <a:off x="6005286" y="2341007"/>
              <a:ext cx="366713" cy="376238"/>
            </a:xfrm>
            <a:prstGeom prst="rect">
              <a:avLst/>
            </a:prstGeom>
            <a:ln>
              <a:noFill/>
            </a:ln>
          </p:spPr>
        </p:pic>
      </p:grpSp>
      <p:pic>
        <p:nvPicPr>
          <p:cNvPr id="67" name="Picture 66">
            <a:extLst>
              <a:ext uri="{FF2B5EF4-FFF2-40B4-BE49-F238E27FC236}">
                <a16:creationId xmlns:a16="http://schemas.microsoft.com/office/drawing/2014/main" id="{66E03A69-FDA4-4B2E-1743-7B495A583480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/>
        </p:blipFill>
        <p:spPr>
          <a:xfrm>
            <a:off x="7271804" y="4698853"/>
            <a:ext cx="2100263" cy="776288"/>
          </a:xfrm>
          <a:prstGeom prst="rect">
            <a:avLst/>
          </a:prstGeom>
          <a:ln>
            <a:noFill/>
          </a:ln>
        </p:spPr>
      </p:pic>
      <p:sp>
        <p:nvSpPr>
          <p:cNvPr id="68" name="Rectangle 67">
            <a:extLst>
              <a:ext uri="{FF2B5EF4-FFF2-40B4-BE49-F238E27FC236}">
                <a16:creationId xmlns:a16="http://schemas.microsoft.com/office/drawing/2014/main" id="{F45B3CA3-73DF-DD07-4985-FA25212F703D}"/>
              </a:ext>
            </a:extLst>
          </p:cNvPr>
          <p:cNvSpPr/>
          <p:nvPr/>
        </p:nvSpPr>
        <p:spPr>
          <a:xfrm>
            <a:off x="5828722" y="5060538"/>
            <a:ext cx="818683" cy="370440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9" name="Picture 68">
            <a:extLst>
              <a:ext uri="{FF2B5EF4-FFF2-40B4-BE49-F238E27FC236}">
                <a16:creationId xmlns:a16="http://schemas.microsoft.com/office/drawing/2014/main" id="{3A7A3038-1272-AEB3-045C-A2CA36E5D416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58905" y="5452892"/>
            <a:ext cx="2611755" cy="445770"/>
          </a:xfrm>
          <a:prstGeom prst="rect">
            <a:avLst/>
          </a:prstGeom>
        </p:spPr>
      </p:pic>
      <p:sp>
        <p:nvSpPr>
          <p:cNvPr id="70" name="Rectangle: Rounded Corners 69">
            <a:extLst>
              <a:ext uri="{FF2B5EF4-FFF2-40B4-BE49-F238E27FC236}">
                <a16:creationId xmlns:a16="http://schemas.microsoft.com/office/drawing/2014/main" id="{C768F1BA-5F21-6765-9177-62438C0D20DB}"/>
              </a:ext>
            </a:extLst>
          </p:cNvPr>
          <p:cNvSpPr/>
          <p:nvPr/>
        </p:nvSpPr>
        <p:spPr>
          <a:xfrm>
            <a:off x="1969257" y="806058"/>
            <a:ext cx="5014053" cy="5301360"/>
          </a:xfrm>
          <a:prstGeom prst="roundRect">
            <a:avLst/>
          </a:prstGeom>
          <a:solidFill>
            <a:schemeClr val="bg1">
              <a:lumMod val="95000"/>
              <a:alpha val="30000"/>
            </a:schemeClr>
          </a:solidFill>
          <a:ln w="12700" cap="flat" cmpd="sng" algn="ctr">
            <a:solidFill>
              <a:schemeClr val="dk1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1" name="Rectangle: Rounded Corners 70">
            <a:extLst>
              <a:ext uri="{FF2B5EF4-FFF2-40B4-BE49-F238E27FC236}">
                <a16:creationId xmlns:a16="http://schemas.microsoft.com/office/drawing/2014/main" id="{AFDF6F33-7A1F-5D77-C969-9F07E85AE891}"/>
              </a:ext>
            </a:extLst>
          </p:cNvPr>
          <p:cNvSpPr/>
          <p:nvPr/>
        </p:nvSpPr>
        <p:spPr>
          <a:xfrm>
            <a:off x="5505501" y="796093"/>
            <a:ext cx="5014053" cy="5301360"/>
          </a:xfrm>
          <a:prstGeom prst="roundRect">
            <a:avLst/>
          </a:prstGeom>
          <a:solidFill>
            <a:schemeClr val="bg1">
              <a:lumMod val="95000"/>
              <a:alpha val="30000"/>
            </a:schemeClr>
          </a:solidFill>
          <a:ln w="12700" cap="flat" cmpd="sng" algn="ctr">
            <a:solidFill>
              <a:schemeClr val="dk1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2AB741BE-8AA8-0C07-06DE-A7800E90694C}"/>
              </a:ext>
            </a:extLst>
          </p:cNvPr>
          <p:cNvSpPr/>
          <p:nvPr/>
        </p:nvSpPr>
        <p:spPr>
          <a:xfrm>
            <a:off x="2476654" y="881318"/>
            <a:ext cx="96603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tr-TR" b="1" spc="-1" dirty="0" err="1">
                <a:solidFill>
                  <a:srgbClr val="08411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encoder</a:t>
            </a:r>
            <a:endParaRPr lang="en-US" dirty="0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C0B145AE-C83F-AF73-A473-8A7F034527E2}"/>
              </a:ext>
            </a:extLst>
          </p:cNvPr>
          <p:cNvSpPr/>
          <p:nvPr/>
        </p:nvSpPr>
        <p:spPr>
          <a:xfrm>
            <a:off x="8970978" y="881318"/>
            <a:ext cx="96603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tr-TR" b="1" spc="-1" dirty="0" err="1">
                <a:solidFill>
                  <a:srgbClr val="08411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ecoder</a:t>
            </a:r>
            <a:endParaRPr lang="en-US" dirty="0"/>
          </a:p>
        </p:txBody>
      </p:sp>
      <p:sp>
        <p:nvSpPr>
          <p:cNvPr id="74" name="CustomShape 19">
            <a:extLst>
              <a:ext uri="{FF2B5EF4-FFF2-40B4-BE49-F238E27FC236}">
                <a16:creationId xmlns:a16="http://schemas.microsoft.com/office/drawing/2014/main" id="{0DFF8D1D-3D21-6B48-B83A-02F6B00775EF}"/>
              </a:ext>
            </a:extLst>
          </p:cNvPr>
          <p:cNvSpPr/>
          <p:nvPr/>
        </p:nvSpPr>
        <p:spPr>
          <a:xfrm>
            <a:off x="5130483" y="6128169"/>
            <a:ext cx="1840289" cy="367878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>
            <a:spAutoFit/>
          </a:bodyPr>
          <a:lstStyle/>
          <a:p>
            <a:pPr>
              <a:lnSpc>
                <a:spcPct val="100000"/>
              </a:lnSpc>
            </a:pPr>
            <a:r>
              <a:rPr lang="tr-TR" spc="-1" dirty="0">
                <a:solidFill>
                  <a:srgbClr val="084112"/>
                </a:solidFill>
                <a:latin typeface="Times New Roman"/>
              </a:rPr>
              <a:t>sigmoid </a:t>
            </a:r>
            <a:r>
              <a:rPr lang="tr-TR" spc="-1" dirty="0" err="1">
                <a:solidFill>
                  <a:srgbClr val="084112"/>
                </a:solidFill>
                <a:latin typeface="Times New Roman"/>
              </a:rPr>
              <a:t>functions</a:t>
            </a:r>
            <a:endParaRPr lang="en-US" sz="1800" strike="noStrike" spc="-1" dirty="0">
              <a:latin typeface="Arial"/>
            </a:endParaRPr>
          </a:p>
        </p:txBody>
      </p:sp>
      <p:sp>
        <p:nvSpPr>
          <p:cNvPr id="75" name="CustomShape 20">
            <a:extLst>
              <a:ext uri="{FF2B5EF4-FFF2-40B4-BE49-F238E27FC236}">
                <a16:creationId xmlns:a16="http://schemas.microsoft.com/office/drawing/2014/main" id="{520AB97E-7B18-42B8-F149-5C53FC19DB7E}"/>
              </a:ext>
            </a:extLst>
          </p:cNvPr>
          <p:cNvSpPr/>
          <p:nvPr/>
        </p:nvSpPr>
        <p:spPr>
          <a:xfrm rot="10800000">
            <a:off x="3696286" y="5954053"/>
            <a:ext cx="1246200" cy="361404"/>
          </a:xfrm>
          <a:prstGeom prst="curvedConnector3">
            <a:avLst>
              <a:gd name="adj1" fmla="val 101366"/>
            </a:avLst>
          </a:prstGeom>
          <a:noFill/>
          <a:ln>
            <a:solidFill>
              <a:srgbClr val="084112"/>
            </a:solidFill>
            <a:prstDash val="sysDash"/>
            <a:round/>
            <a:tailEnd type="triangle" w="med" len="med"/>
          </a:ln>
          <a:effectLst>
            <a:outerShdw blurRad="40000" dist="20160" dir="5400000" rotWithShape="0">
              <a:srgbClr val="000000">
                <a:alpha val="3800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/>
        </p:style>
      </p:sp>
      <p:sp>
        <p:nvSpPr>
          <p:cNvPr id="76" name="CustomShape 20">
            <a:extLst>
              <a:ext uri="{FF2B5EF4-FFF2-40B4-BE49-F238E27FC236}">
                <a16:creationId xmlns:a16="http://schemas.microsoft.com/office/drawing/2014/main" id="{F4880C17-1A52-A154-4E81-D8771FD6F7CA}"/>
              </a:ext>
            </a:extLst>
          </p:cNvPr>
          <p:cNvSpPr/>
          <p:nvPr/>
        </p:nvSpPr>
        <p:spPr>
          <a:xfrm rot="10800000" flipH="1">
            <a:off x="6995849" y="5977921"/>
            <a:ext cx="1246200" cy="361404"/>
          </a:xfrm>
          <a:prstGeom prst="curvedConnector3">
            <a:avLst>
              <a:gd name="adj1" fmla="val 101366"/>
            </a:avLst>
          </a:prstGeom>
          <a:noFill/>
          <a:ln>
            <a:solidFill>
              <a:srgbClr val="084112"/>
            </a:solidFill>
            <a:prstDash val="sysDash"/>
            <a:round/>
            <a:tailEnd type="triangle" w="med" len="med"/>
          </a:ln>
          <a:effectLst>
            <a:outerShdw blurRad="40000" dist="20160" dir="5400000" rotWithShape="0">
              <a:srgbClr val="000000">
                <a:alpha val="3800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/>
        </p:style>
      </p:sp>
    </p:spTree>
    <p:custDataLst>
      <p:tags r:id="rId1"/>
    </p:custDataLst>
    <p:extLst>
      <p:ext uri="{BB962C8B-B14F-4D97-AF65-F5344CB8AC3E}">
        <p14:creationId xmlns:p14="http://schemas.microsoft.com/office/powerpoint/2010/main" val="937519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8" grpId="0" animBg="1"/>
      <p:bldP spid="70" grpId="0" animBg="1"/>
      <p:bldP spid="71" grpId="0" animBg="1"/>
      <p:bldP spid="72" grpId="0"/>
      <p:bldP spid="73" grpId="0"/>
      <p:bldP spid="74" grpId="0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E6EF2DD4-1428-4F29-BED0-012580DEB727}"/>
              </a:ext>
            </a:extLst>
          </p:cNvPr>
          <p:cNvGrpSpPr/>
          <p:nvPr/>
        </p:nvGrpSpPr>
        <p:grpSpPr>
          <a:xfrm>
            <a:off x="1" y="6496048"/>
            <a:ext cx="12192000" cy="381103"/>
            <a:chOff x="-1" y="6496048"/>
            <a:chExt cx="12192001" cy="361952"/>
          </a:xfrm>
        </p:grpSpPr>
        <p:sp>
          <p:nvSpPr>
            <p:cNvPr id="17" name="Dikdörtgen 10">
              <a:extLst>
                <a:ext uri="{FF2B5EF4-FFF2-40B4-BE49-F238E27FC236}">
                  <a16:creationId xmlns:a16="http://schemas.microsoft.com/office/drawing/2014/main" id="{C14596DF-271A-400A-B0AE-693FCDF2F217}"/>
                </a:ext>
              </a:extLst>
            </p:cNvPr>
            <p:cNvSpPr/>
            <p:nvPr/>
          </p:nvSpPr>
          <p:spPr>
            <a:xfrm>
              <a:off x="10115547" y="6496049"/>
              <a:ext cx="2076453" cy="361951"/>
            </a:xfrm>
            <a:prstGeom prst="rect">
              <a:avLst/>
            </a:prstGeom>
            <a:solidFill>
              <a:srgbClr val="2198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dirty="0"/>
                <a:t>   Özgür Martin</a:t>
              </a:r>
            </a:p>
          </p:txBody>
        </p:sp>
        <p:sp>
          <p:nvSpPr>
            <p:cNvPr id="18" name="Dikdörtgen 10">
              <a:extLst>
                <a:ext uri="{FF2B5EF4-FFF2-40B4-BE49-F238E27FC236}">
                  <a16:creationId xmlns:a16="http://schemas.microsoft.com/office/drawing/2014/main" id="{84A5B1F6-64B9-4792-8088-33FD44F5342F}"/>
                </a:ext>
              </a:extLst>
            </p:cNvPr>
            <p:cNvSpPr/>
            <p:nvPr/>
          </p:nvSpPr>
          <p:spPr>
            <a:xfrm>
              <a:off x="-1" y="6496048"/>
              <a:ext cx="10151743" cy="361952"/>
            </a:xfrm>
            <a:prstGeom prst="rect">
              <a:avLst/>
            </a:prstGeom>
            <a:solidFill>
              <a:srgbClr val="2198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altLang="ko-KR" dirty="0" err="1">
                  <a:solidFill>
                    <a:schemeClr val="bg1"/>
                  </a:solidFill>
                  <a:cs typeface="Arial" pitchFamily="34" charset="0"/>
                </a:rPr>
                <a:t>Neural</a:t>
              </a:r>
              <a:r>
                <a:rPr lang="tr-TR" altLang="ko-KR" dirty="0">
                  <a:solidFill>
                    <a:schemeClr val="bg1"/>
                  </a:solidFill>
                  <a:cs typeface="Arial" pitchFamily="34" charset="0"/>
                </a:rPr>
                <a:t> Networks</a:t>
              </a:r>
            </a:p>
          </p:txBody>
        </p:sp>
      </p:grpSp>
      <p:pic>
        <p:nvPicPr>
          <p:cNvPr id="5" name="Picture 4" descr="A close up of a piece of paper&#10;&#10;Description automatically generated">
            <a:extLst>
              <a:ext uri="{FF2B5EF4-FFF2-40B4-BE49-F238E27FC236}">
                <a16:creationId xmlns:a16="http://schemas.microsoft.com/office/drawing/2014/main" id="{2DC1E459-6D63-0391-4755-03297E4223D4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5296"/>
          <a:stretch/>
        </p:blipFill>
        <p:spPr>
          <a:xfrm>
            <a:off x="6049044" y="1058172"/>
            <a:ext cx="5938770" cy="398225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CEC7D486-4554-1CF0-8237-4E017CA5FEF2}"/>
              </a:ext>
            </a:extLst>
          </p:cNvPr>
          <p:cNvSpPr txBox="1"/>
          <p:nvPr/>
        </p:nvSpPr>
        <p:spPr>
          <a:xfrm>
            <a:off x="10513214" y="5805755"/>
            <a:ext cx="128112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noProof="1">
                <a:solidFill>
                  <a:srgbClr val="AB3348"/>
                </a:solidFill>
                <a:latin typeface="Times New Roman"/>
                <a:cs typeface="Times New Roman"/>
              </a:rPr>
              <a:t>(</a:t>
            </a:r>
            <a:r>
              <a:rPr lang="en-US" sz="1400" noProof="1">
                <a:solidFill>
                  <a:srgbClr val="FF0000"/>
                </a:solidFill>
                <a:latin typeface="Times New Roman"/>
                <a:cs typeface="Times New Roman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ource</a:t>
            </a:r>
            <a:r>
              <a:rPr lang="tr-TR" sz="1400" noProof="1">
                <a:solidFill>
                  <a:srgbClr val="AB3348"/>
                </a:solidFill>
                <a:latin typeface="Times New Roman"/>
                <a:cs typeface="Times New Roman"/>
              </a:rPr>
              <a:t> - 2016)</a:t>
            </a:r>
            <a:endParaRPr lang="en-US" sz="1400" baseline="30000" noProof="1">
              <a:solidFill>
                <a:srgbClr val="AB3348"/>
              </a:solidFill>
              <a:latin typeface="Times New Roman"/>
              <a:cs typeface="Times New Roman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992A55F-5DA5-8B7D-70B8-FA453AE2F34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0274" y="614109"/>
            <a:ext cx="5938770" cy="487038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812451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E6EF2DD4-1428-4F29-BED0-012580DEB727}"/>
              </a:ext>
            </a:extLst>
          </p:cNvPr>
          <p:cNvGrpSpPr/>
          <p:nvPr/>
        </p:nvGrpSpPr>
        <p:grpSpPr>
          <a:xfrm>
            <a:off x="1" y="6496048"/>
            <a:ext cx="12192000" cy="381103"/>
            <a:chOff x="-1" y="6496048"/>
            <a:chExt cx="12192001" cy="361952"/>
          </a:xfrm>
        </p:grpSpPr>
        <p:sp>
          <p:nvSpPr>
            <p:cNvPr id="17" name="Dikdörtgen 10">
              <a:extLst>
                <a:ext uri="{FF2B5EF4-FFF2-40B4-BE49-F238E27FC236}">
                  <a16:creationId xmlns:a16="http://schemas.microsoft.com/office/drawing/2014/main" id="{C14596DF-271A-400A-B0AE-693FCDF2F217}"/>
                </a:ext>
              </a:extLst>
            </p:cNvPr>
            <p:cNvSpPr/>
            <p:nvPr/>
          </p:nvSpPr>
          <p:spPr>
            <a:xfrm>
              <a:off x="10115547" y="6496049"/>
              <a:ext cx="2076453" cy="361951"/>
            </a:xfrm>
            <a:prstGeom prst="rect">
              <a:avLst/>
            </a:prstGeom>
            <a:solidFill>
              <a:srgbClr val="2198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dirty="0"/>
                <a:t>   Özgür Martin</a:t>
              </a:r>
            </a:p>
          </p:txBody>
        </p:sp>
        <p:sp>
          <p:nvSpPr>
            <p:cNvPr id="18" name="Dikdörtgen 10">
              <a:extLst>
                <a:ext uri="{FF2B5EF4-FFF2-40B4-BE49-F238E27FC236}">
                  <a16:creationId xmlns:a16="http://schemas.microsoft.com/office/drawing/2014/main" id="{84A5B1F6-64B9-4792-8088-33FD44F5342F}"/>
                </a:ext>
              </a:extLst>
            </p:cNvPr>
            <p:cNvSpPr/>
            <p:nvPr/>
          </p:nvSpPr>
          <p:spPr>
            <a:xfrm>
              <a:off x="-1" y="6496048"/>
              <a:ext cx="10151743" cy="361952"/>
            </a:xfrm>
            <a:prstGeom prst="rect">
              <a:avLst/>
            </a:prstGeom>
            <a:solidFill>
              <a:srgbClr val="2198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altLang="ko-KR" dirty="0" err="1">
                  <a:solidFill>
                    <a:schemeClr val="bg1"/>
                  </a:solidFill>
                  <a:cs typeface="Arial" pitchFamily="34" charset="0"/>
                </a:rPr>
                <a:t>Neural</a:t>
              </a:r>
              <a:r>
                <a:rPr lang="tr-TR" altLang="ko-KR" dirty="0">
                  <a:solidFill>
                    <a:schemeClr val="bg1"/>
                  </a:solidFill>
                  <a:cs typeface="Arial" pitchFamily="34" charset="0"/>
                </a:rPr>
                <a:t> Networks</a:t>
              </a:r>
            </a:p>
          </p:txBody>
        </p:sp>
      </p:grpSp>
      <p:sp>
        <p:nvSpPr>
          <p:cNvPr id="5" name="CustomShape 1">
            <a:extLst>
              <a:ext uri="{FF2B5EF4-FFF2-40B4-BE49-F238E27FC236}">
                <a16:creationId xmlns:a16="http://schemas.microsoft.com/office/drawing/2014/main" id="{820B3C34-803A-6434-3166-412FEB039D4B}"/>
              </a:ext>
            </a:extLst>
          </p:cNvPr>
          <p:cNvSpPr/>
          <p:nvPr/>
        </p:nvSpPr>
        <p:spPr>
          <a:xfrm>
            <a:off x="635950" y="336849"/>
            <a:ext cx="8170920" cy="106488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>
            <a:noAutofit/>
          </a:bodyPr>
          <a:lstStyle/>
          <a:p>
            <a:pPr>
              <a:lnSpc>
                <a:spcPts val="3200"/>
              </a:lnSpc>
            </a:pPr>
            <a:r>
              <a:rPr lang="en-US" sz="2800" b="0" strike="noStrike" spc="-1" dirty="0">
                <a:solidFill>
                  <a:srgbClr val="AB3348"/>
                </a:solidFill>
                <a:latin typeface="Times New Roman"/>
                <a:ea typeface="DejaVu Sans"/>
              </a:rPr>
              <a:t>Activation Functions</a:t>
            </a:r>
            <a:endParaRPr lang="en-US" sz="2800" b="0" strike="noStrike" spc="-1" dirty="0">
              <a:latin typeface="Arial"/>
            </a:endParaRPr>
          </a:p>
        </p:txBody>
      </p:sp>
      <p:pic>
        <p:nvPicPr>
          <p:cNvPr id="6" name="Picture 17">
            <a:extLst>
              <a:ext uri="{FF2B5EF4-FFF2-40B4-BE49-F238E27FC236}">
                <a16:creationId xmlns:a16="http://schemas.microsoft.com/office/drawing/2014/main" id="{47FDEEC1-D0D7-0CF2-8611-ABF874331BBA}"/>
              </a:ext>
            </a:extLst>
          </p:cNvPr>
          <p:cNvPicPr/>
          <p:nvPr/>
        </p:nvPicPr>
        <p:blipFill>
          <a:blip r:embed="rId4"/>
          <a:stretch/>
        </p:blipFill>
        <p:spPr>
          <a:xfrm>
            <a:off x="3458504" y="2290917"/>
            <a:ext cx="2284920" cy="326520"/>
          </a:xfrm>
          <a:prstGeom prst="rect">
            <a:avLst/>
          </a:prstGeom>
          <a:ln>
            <a:noFill/>
          </a:ln>
        </p:spPr>
      </p:pic>
      <p:pic>
        <p:nvPicPr>
          <p:cNvPr id="7" name="Picture 19">
            <a:extLst>
              <a:ext uri="{FF2B5EF4-FFF2-40B4-BE49-F238E27FC236}">
                <a16:creationId xmlns:a16="http://schemas.microsoft.com/office/drawing/2014/main" id="{E9864BF8-CF9C-D977-470C-0438BD69A30A}"/>
              </a:ext>
            </a:extLst>
          </p:cNvPr>
          <p:cNvPicPr/>
          <p:nvPr/>
        </p:nvPicPr>
        <p:blipFill>
          <a:blip r:embed="rId5"/>
          <a:stretch/>
        </p:blipFill>
        <p:spPr>
          <a:xfrm>
            <a:off x="3458504" y="1236837"/>
            <a:ext cx="2334600" cy="665640"/>
          </a:xfrm>
          <a:prstGeom prst="rect">
            <a:avLst/>
          </a:prstGeom>
          <a:ln>
            <a:noFill/>
          </a:ln>
        </p:spPr>
      </p:pic>
      <p:pic>
        <p:nvPicPr>
          <p:cNvPr id="8" name="Picture 27">
            <a:extLst>
              <a:ext uri="{FF2B5EF4-FFF2-40B4-BE49-F238E27FC236}">
                <a16:creationId xmlns:a16="http://schemas.microsoft.com/office/drawing/2014/main" id="{7E905AD0-F2EB-F853-D47D-328E4C7E15AF}"/>
              </a:ext>
            </a:extLst>
          </p:cNvPr>
          <p:cNvPicPr/>
          <p:nvPr/>
        </p:nvPicPr>
        <p:blipFill>
          <a:blip r:embed="rId6"/>
          <a:stretch/>
        </p:blipFill>
        <p:spPr>
          <a:xfrm>
            <a:off x="3458504" y="3969237"/>
            <a:ext cx="1461960" cy="315000"/>
          </a:xfrm>
          <a:prstGeom prst="rect">
            <a:avLst/>
          </a:prstGeom>
          <a:ln>
            <a:noFill/>
          </a:ln>
        </p:spPr>
      </p:pic>
      <p:pic>
        <p:nvPicPr>
          <p:cNvPr id="9" name="Picture 36">
            <a:extLst>
              <a:ext uri="{FF2B5EF4-FFF2-40B4-BE49-F238E27FC236}">
                <a16:creationId xmlns:a16="http://schemas.microsoft.com/office/drawing/2014/main" id="{7581468B-8F4B-9BE6-02B7-1E1F66630AB0}"/>
              </a:ext>
            </a:extLst>
          </p:cNvPr>
          <p:cNvPicPr/>
          <p:nvPr/>
        </p:nvPicPr>
        <p:blipFill>
          <a:blip r:embed="rId7"/>
          <a:stretch/>
        </p:blipFill>
        <p:spPr>
          <a:xfrm>
            <a:off x="3458504" y="4559997"/>
            <a:ext cx="2391480" cy="665640"/>
          </a:xfrm>
          <a:prstGeom prst="rect">
            <a:avLst/>
          </a:prstGeom>
          <a:ln>
            <a:noFill/>
          </a:ln>
        </p:spPr>
      </p:pic>
      <p:pic>
        <p:nvPicPr>
          <p:cNvPr id="10" name="Picture 38">
            <a:extLst>
              <a:ext uri="{FF2B5EF4-FFF2-40B4-BE49-F238E27FC236}">
                <a16:creationId xmlns:a16="http://schemas.microsoft.com/office/drawing/2014/main" id="{D01AA304-ADB8-A284-21F5-8D43116CE1C4}"/>
              </a:ext>
            </a:extLst>
          </p:cNvPr>
          <p:cNvPicPr/>
          <p:nvPr/>
        </p:nvPicPr>
        <p:blipFill>
          <a:blip r:embed="rId8"/>
          <a:stretch/>
        </p:blipFill>
        <p:spPr>
          <a:xfrm>
            <a:off x="3458504" y="5501037"/>
            <a:ext cx="2467800" cy="840960"/>
          </a:xfrm>
          <a:prstGeom prst="rect">
            <a:avLst/>
          </a:prstGeom>
          <a:ln>
            <a:noFill/>
          </a:ln>
        </p:spPr>
      </p:pic>
      <p:sp>
        <p:nvSpPr>
          <p:cNvPr id="11" name="CustomShape 2">
            <a:extLst>
              <a:ext uri="{FF2B5EF4-FFF2-40B4-BE49-F238E27FC236}">
                <a16:creationId xmlns:a16="http://schemas.microsoft.com/office/drawing/2014/main" id="{4F1BDFEE-3B9E-D8E0-1C79-A1F8A0CC93EF}"/>
              </a:ext>
            </a:extLst>
          </p:cNvPr>
          <p:cNvSpPr/>
          <p:nvPr/>
        </p:nvSpPr>
        <p:spPr>
          <a:xfrm>
            <a:off x="6533984" y="1385517"/>
            <a:ext cx="1827720" cy="36396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>
            <a:spAutoFit/>
          </a:bodyPr>
          <a:lstStyle/>
          <a:p>
            <a:pPr>
              <a:lnSpc>
                <a:spcPct val="100000"/>
              </a:lnSpc>
            </a:pPr>
            <a:r>
              <a:rPr lang="en-US" sz="1800" b="0" strike="noStrike" spc="-1">
                <a:solidFill>
                  <a:srgbClr val="AB3348"/>
                </a:solidFill>
                <a:latin typeface="Times New Roman"/>
                <a:ea typeface="DejaVu Sans"/>
              </a:rPr>
              <a:t>Sigmoid Function</a:t>
            </a:r>
            <a:endParaRPr lang="en-US" sz="1800" b="0" strike="noStrike" spc="-1">
              <a:latin typeface="Arial"/>
            </a:endParaRPr>
          </a:p>
        </p:txBody>
      </p:sp>
      <p:sp>
        <p:nvSpPr>
          <p:cNvPr id="12" name="CustomShape 3">
            <a:extLst>
              <a:ext uri="{FF2B5EF4-FFF2-40B4-BE49-F238E27FC236}">
                <a16:creationId xmlns:a16="http://schemas.microsoft.com/office/drawing/2014/main" id="{85D4CBAA-6DF8-C655-C856-6621F5687B4D}"/>
              </a:ext>
            </a:extLst>
          </p:cNvPr>
          <p:cNvSpPr/>
          <p:nvPr/>
        </p:nvSpPr>
        <p:spPr>
          <a:xfrm>
            <a:off x="6532904" y="3942597"/>
            <a:ext cx="1765440" cy="36396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>
            <a:spAutoFit/>
          </a:bodyPr>
          <a:lstStyle/>
          <a:p>
            <a:pPr>
              <a:lnSpc>
                <a:spcPct val="100000"/>
              </a:lnSpc>
            </a:pPr>
            <a:r>
              <a:rPr lang="en-US" sz="1800" b="0" strike="noStrike" spc="-1">
                <a:solidFill>
                  <a:srgbClr val="AB3348"/>
                </a:solidFill>
                <a:latin typeface="Times New Roman"/>
                <a:ea typeface="DejaVu Sans"/>
              </a:rPr>
              <a:t>Identity Function</a:t>
            </a:r>
            <a:endParaRPr lang="en-US" sz="1800" b="0" strike="noStrike" spc="-1">
              <a:latin typeface="Arial"/>
            </a:endParaRPr>
          </a:p>
        </p:txBody>
      </p:sp>
      <p:sp>
        <p:nvSpPr>
          <p:cNvPr id="13" name="CustomShape 4">
            <a:extLst>
              <a:ext uri="{FF2B5EF4-FFF2-40B4-BE49-F238E27FC236}">
                <a16:creationId xmlns:a16="http://schemas.microsoft.com/office/drawing/2014/main" id="{54AF057A-A11A-9F4F-330B-AB88761AF3E3}"/>
              </a:ext>
            </a:extLst>
          </p:cNvPr>
          <p:cNvSpPr/>
          <p:nvPr/>
        </p:nvSpPr>
        <p:spPr>
          <a:xfrm>
            <a:off x="6533984" y="4708677"/>
            <a:ext cx="1827720" cy="36396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>
            <a:spAutoFit/>
          </a:bodyPr>
          <a:lstStyle/>
          <a:p>
            <a:pPr>
              <a:lnSpc>
                <a:spcPct val="100000"/>
              </a:lnSpc>
            </a:pPr>
            <a:r>
              <a:rPr lang="en-US" sz="1800" b="0" strike="noStrike" spc="-1">
                <a:solidFill>
                  <a:srgbClr val="AB3348"/>
                </a:solidFill>
                <a:latin typeface="Times New Roman"/>
                <a:ea typeface="DejaVu Sans"/>
              </a:rPr>
              <a:t>Sigmoid Function</a:t>
            </a:r>
            <a:endParaRPr lang="en-US" sz="1800" b="0" strike="noStrike" spc="-1">
              <a:latin typeface="Arial"/>
            </a:endParaRPr>
          </a:p>
        </p:txBody>
      </p:sp>
      <p:sp>
        <p:nvSpPr>
          <p:cNvPr id="14" name="CustomShape 5">
            <a:extLst>
              <a:ext uri="{FF2B5EF4-FFF2-40B4-BE49-F238E27FC236}">
                <a16:creationId xmlns:a16="http://schemas.microsoft.com/office/drawing/2014/main" id="{F5C84C22-D383-6A84-F38C-60B89583FE42}"/>
              </a:ext>
            </a:extLst>
          </p:cNvPr>
          <p:cNvSpPr/>
          <p:nvPr/>
        </p:nvSpPr>
        <p:spPr>
          <a:xfrm>
            <a:off x="6533984" y="5552877"/>
            <a:ext cx="1827720" cy="36396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>
            <a:spAutoFit/>
          </a:bodyPr>
          <a:lstStyle/>
          <a:p>
            <a:pPr>
              <a:lnSpc>
                <a:spcPct val="100000"/>
              </a:lnSpc>
            </a:pPr>
            <a:r>
              <a:rPr lang="en-US" sz="1800" b="0" strike="noStrike" spc="-1">
                <a:solidFill>
                  <a:srgbClr val="AB3348"/>
                </a:solidFill>
                <a:latin typeface="Times New Roman"/>
                <a:ea typeface="DejaVu Sans"/>
              </a:rPr>
              <a:t>Softmax Function</a:t>
            </a:r>
            <a:endParaRPr lang="en-US" sz="1800" b="0" strike="noStrike" spc="-1">
              <a:latin typeface="Arial"/>
            </a:endParaRPr>
          </a:p>
        </p:txBody>
      </p:sp>
      <p:sp>
        <p:nvSpPr>
          <p:cNvPr id="15" name="CustomShape 6">
            <a:extLst>
              <a:ext uri="{FF2B5EF4-FFF2-40B4-BE49-F238E27FC236}">
                <a16:creationId xmlns:a16="http://schemas.microsoft.com/office/drawing/2014/main" id="{CCE95801-9808-7D85-0CCA-E94224C27755}"/>
              </a:ext>
            </a:extLst>
          </p:cNvPr>
          <p:cNvSpPr/>
          <p:nvPr/>
        </p:nvSpPr>
        <p:spPr>
          <a:xfrm>
            <a:off x="6528224" y="2270037"/>
            <a:ext cx="1651320" cy="36396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>
            <a:spAutoFit/>
          </a:bodyPr>
          <a:lstStyle/>
          <a:p>
            <a:pPr>
              <a:lnSpc>
                <a:spcPct val="100000"/>
              </a:lnSpc>
            </a:pPr>
            <a:r>
              <a:rPr lang="en-US" sz="1800" b="0" strike="noStrike" spc="-1">
                <a:solidFill>
                  <a:srgbClr val="AB3348"/>
                </a:solidFill>
                <a:latin typeface="Times New Roman"/>
                <a:ea typeface="DejaVu Sans"/>
              </a:rPr>
              <a:t>“tanh” Function</a:t>
            </a:r>
            <a:endParaRPr lang="en-US" sz="1800" b="0" strike="noStrike" spc="-1">
              <a:latin typeface="Arial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B10C6B15-07F5-2D94-14A7-2C99D133D2C4}"/>
              </a:ext>
            </a:extLst>
          </p:cNvPr>
          <p:cNvPicPr/>
          <p:nvPr/>
        </p:nvPicPr>
        <p:blipFill>
          <a:blip r:embed="rId9"/>
          <a:stretch/>
        </p:blipFill>
        <p:spPr>
          <a:xfrm>
            <a:off x="3449864" y="2925597"/>
            <a:ext cx="2559960" cy="466200"/>
          </a:xfrm>
          <a:prstGeom prst="rect">
            <a:avLst/>
          </a:prstGeom>
          <a:ln>
            <a:noFill/>
          </a:ln>
        </p:spPr>
      </p:pic>
      <p:sp>
        <p:nvSpPr>
          <p:cNvPr id="20" name="CustomShape 8">
            <a:extLst>
              <a:ext uri="{FF2B5EF4-FFF2-40B4-BE49-F238E27FC236}">
                <a16:creationId xmlns:a16="http://schemas.microsoft.com/office/drawing/2014/main" id="{4831F5CA-E84B-ED86-16B2-0589E542F292}"/>
              </a:ext>
            </a:extLst>
          </p:cNvPr>
          <p:cNvSpPr/>
          <p:nvPr/>
        </p:nvSpPr>
        <p:spPr>
          <a:xfrm>
            <a:off x="6558824" y="2920197"/>
            <a:ext cx="2971080" cy="36396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>
            <a:spAutoFit/>
          </a:bodyPr>
          <a:lstStyle/>
          <a:p>
            <a:pPr>
              <a:lnSpc>
                <a:spcPct val="100000"/>
              </a:lnSpc>
            </a:pPr>
            <a:r>
              <a:rPr lang="en-US" sz="1800" b="0" strike="noStrike" spc="-1">
                <a:solidFill>
                  <a:srgbClr val="AB3348"/>
                </a:solidFill>
                <a:latin typeface="Times New Roman"/>
                <a:ea typeface="DejaVu Sans"/>
              </a:rPr>
              <a:t>Rectified Linear Unit (ReLU) </a:t>
            </a:r>
            <a:endParaRPr lang="en-US" sz="1800" b="0" strike="noStrike" spc="-1">
              <a:latin typeface="Arial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12425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2" grpId="0"/>
      <p:bldP spid="13" grpId="0"/>
      <p:bldP spid="14" grpId="0"/>
      <p:bldP spid="15" grpId="0"/>
      <p:bldP spid="20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E6EF2DD4-1428-4F29-BED0-012580DEB727}"/>
              </a:ext>
            </a:extLst>
          </p:cNvPr>
          <p:cNvGrpSpPr/>
          <p:nvPr/>
        </p:nvGrpSpPr>
        <p:grpSpPr>
          <a:xfrm>
            <a:off x="1" y="6496048"/>
            <a:ext cx="12192000" cy="381103"/>
            <a:chOff x="-1" y="6496048"/>
            <a:chExt cx="12192001" cy="361952"/>
          </a:xfrm>
        </p:grpSpPr>
        <p:sp>
          <p:nvSpPr>
            <p:cNvPr id="17" name="Dikdörtgen 10">
              <a:extLst>
                <a:ext uri="{FF2B5EF4-FFF2-40B4-BE49-F238E27FC236}">
                  <a16:creationId xmlns:a16="http://schemas.microsoft.com/office/drawing/2014/main" id="{C14596DF-271A-400A-B0AE-693FCDF2F217}"/>
                </a:ext>
              </a:extLst>
            </p:cNvPr>
            <p:cNvSpPr/>
            <p:nvPr/>
          </p:nvSpPr>
          <p:spPr>
            <a:xfrm>
              <a:off x="10115547" y="6496049"/>
              <a:ext cx="2076453" cy="361951"/>
            </a:xfrm>
            <a:prstGeom prst="rect">
              <a:avLst/>
            </a:prstGeom>
            <a:solidFill>
              <a:srgbClr val="2198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dirty="0"/>
                <a:t>   Özgür Martin</a:t>
              </a:r>
            </a:p>
          </p:txBody>
        </p:sp>
        <p:sp>
          <p:nvSpPr>
            <p:cNvPr id="18" name="Dikdörtgen 10">
              <a:extLst>
                <a:ext uri="{FF2B5EF4-FFF2-40B4-BE49-F238E27FC236}">
                  <a16:creationId xmlns:a16="http://schemas.microsoft.com/office/drawing/2014/main" id="{84A5B1F6-64B9-4792-8088-33FD44F5342F}"/>
                </a:ext>
              </a:extLst>
            </p:cNvPr>
            <p:cNvSpPr/>
            <p:nvPr/>
          </p:nvSpPr>
          <p:spPr>
            <a:xfrm>
              <a:off x="-1" y="6496048"/>
              <a:ext cx="10151743" cy="361952"/>
            </a:xfrm>
            <a:prstGeom prst="rect">
              <a:avLst/>
            </a:prstGeom>
            <a:solidFill>
              <a:srgbClr val="2198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altLang="ko-KR" dirty="0" err="1">
                  <a:solidFill>
                    <a:schemeClr val="bg1"/>
                  </a:solidFill>
                  <a:cs typeface="Arial" pitchFamily="34" charset="0"/>
                </a:rPr>
                <a:t>Neural</a:t>
              </a:r>
              <a:r>
                <a:rPr lang="tr-TR" altLang="ko-KR" dirty="0">
                  <a:solidFill>
                    <a:schemeClr val="bg1"/>
                  </a:solidFill>
                  <a:cs typeface="Arial" pitchFamily="34" charset="0"/>
                </a:rPr>
                <a:t> Networks</a:t>
              </a:r>
            </a:p>
          </p:txBody>
        </p:sp>
      </p:grpSp>
      <p:sp>
        <p:nvSpPr>
          <p:cNvPr id="5" name="CustomShape 1">
            <a:extLst>
              <a:ext uri="{FF2B5EF4-FFF2-40B4-BE49-F238E27FC236}">
                <a16:creationId xmlns:a16="http://schemas.microsoft.com/office/drawing/2014/main" id="{AFD1DD01-35D6-4F96-E4CE-E53C060451C6}"/>
              </a:ext>
            </a:extLst>
          </p:cNvPr>
          <p:cNvSpPr/>
          <p:nvPr/>
        </p:nvSpPr>
        <p:spPr>
          <a:xfrm>
            <a:off x="2098708" y="4474317"/>
            <a:ext cx="2164320" cy="570600"/>
          </a:xfrm>
          <a:prstGeom prst="rect">
            <a:avLst/>
          </a:prstGeom>
          <a:ln>
            <a:rou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/>
        </p:style>
      </p:sp>
      <p:sp>
        <p:nvSpPr>
          <p:cNvPr id="6" name="CustomShape 2">
            <a:extLst>
              <a:ext uri="{FF2B5EF4-FFF2-40B4-BE49-F238E27FC236}">
                <a16:creationId xmlns:a16="http://schemas.microsoft.com/office/drawing/2014/main" id="{EA043C44-1D5C-A9AB-738D-FABF6B5B146C}"/>
              </a:ext>
            </a:extLst>
          </p:cNvPr>
          <p:cNvSpPr/>
          <p:nvPr/>
        </p:nvSpPr>
        <p:spPr>
          <a:xfrm>
            <a:off x="515324" y="455097"/>
            <a:ext cx="8170920" cy="106488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>
            <a:noAutofit/>
          </a:bodyPr>
          <a:lstStyle/>
          <a:p>
            <a:pPr>
              <a:lnSpc>
                <a:spcPts val="3200"/>
              </a:lnSpc>
            </a:pPr>
            <a:r>
              <a:rPr lang="en-US" sz="2800" b="0" strike="noStrike" spc="-1" dirty="0">
                <a:solidFill>
                  <a:srgbClr val="AB3348"/>
                </a:solidFill>
                <a:latin typeface="Times New Roman"/>
                <a:ea typeface="DejaVu Sans"/>
              </a:rPr>
              <a:t>Network Function</a:t>
            </a:r>
            <a:endParaRPr lang="en-US" sz="2800" b="0" strike="noStrike" spc="-1" dirty="0">
              <a:latin typeface="Arial"/>
            </a:endParaRPr>
          </a:p>
        </p:txBody>
      </p:sp>
      <p:sp>
        <p:nvSpPr>
          <p:cNvPr id="7" name="CustomShape 3">
            <a:extLst>
              <a:ext uri="{FF2B5EF4-FFF2-40B4-BE49-F238E27FC236}">
                <a16:creationId xmlns:a16="http://schemas.microsoft.com/office/drawing/2014/main" id="{04A15CE2-03CA-66E0-C9B6-12AC9366713F}"/>
              </a:ext>
            </a:extLst>
          </p:cNvPr>
          <p:cNvSpPr/>
          <p:nvPr/>
        </p:nvSpPr>
        <p:spPr>
          <a:xfrm>
            <a:off x="6221788" y="1442037"/>
            <a:ext cx="3839760" cy="906840"/>
          </a:xfrm>
          <a:prstGeom prst="rect">
            <a:avLst/>
          </a:prstGeom>
          <a:noFill/>
          <a:ln>
            <a:solidFill>
              <a:srgbClr val="AB3348"/>
            </a:solidFill>
            <a:round/>
          </a:ln>
          <a:effectLst>
            <a:outerShdw blurRad="40000" dist="2304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/>
        </p:style>
      </p:sp>
      <p:pic>
        <p:nvPicPr>
          <p:cNvPr id="8" name="Picture 5">
            <a:extLst>
              <a:ext uri="{FF2B5EF4-FFF2-40B4-BE49-F238E27FC236}">
                <a16:creationId xmlns:a16="http://schemas.microsoft.com/office/drawing/2014/main" id="{A5CD3D0D-287D-F81C-1DF1-1C35DC5D45A9}"/>
              </a:ext>
            </a:extLst>
          </p:cNvPr>
          <p:cNvPicPr/>
          <p:nvPr/>
        </p:nvPicPr>
        <p:blipFill>
          <a:blip r:embed="rId4"/>
          <a:stretch/>
        </p:blipFill>
        <p:spPr>
          <a:xfrm>
            <a:off x="3633748" y="5227437"/>
            <a:ext cx="4792680" cy="995760"/>
          </a:xfrm>
          <a:prstGeom prst="rect">
            <a:avLst/>
          </a:prstGeom>
          <a:ln>
            <a:noFill/>
          </a:ln>
        </p:spPr>
      </p:pic>
      <p:pic>
        <p:nvPicPr>
          <p:cNvPr id="9" name="Picture 7">
            <a:extLst>
              <a:ext uri="{FF2B5EF4-FFF2-40B4-BE49-F238E27FC236}">
                <a16:creationId xmlns:a16="http://schemas.microsoft.com/office/drawing/2014/main" id="{E712DB1F-1218-9757-2EB6-AF130A5D260A}"/>
              </a:ext>
            </a:extLst>
          </p:cNvPr>
          <p:cNvPicPr/>
          <p:nvPr/>
        </p:nvPicPr>
        <p:blipFill>
          <a:blip r:embed="rId5"/>
          <a:stretch/>
        </p:blipFill>
        <p:spPr>
          <a:xfrm>
            <a:off x="2277988" y="4656837"/>
            <a:ext cx="1805760" cy="242280"/>
          </a:xfrm>
          <a:prstGeom prst="rect">
            <a:avLst/>
          </a:prstGeom>
          <a:ln>
            <a:noFill/>
          </a:ln>
        </p:spPr>
      </p:pic>
      <p:pic>
        <p:nvPicPr>
          <p:cNvPr id="10" name="Picture 23">
            <a:extLst>
              <a:ext uri="{FF2B5EF4-FFF2-40B4-BE49-F238E27FC236}">
                <a16:creationId xmlns:a16="http://schemas.microsoft.com/office/drawing/2014/main" id="{F04545D3-C532-4592-2377-F0292A6043AA}"/>
              </a:ext>
            </a:extLst>
          </p:cNvPr>
          <p:cNvPicPr/>
          <p:nvPr/>
        </p:nvPicPr>
        <p:blipFill>
          <a:blip r:embed="rId6"/>
          <a:stretch/>
        </p:blipFill>
        <p:spPr>
          <a:xfrm>
            <a:off x="2961628" y="3134757"/>
            <a:ext cx="6406560" cy="995760"/>
          </a:xfrm>
          <a:prstGeom prst="rect">
            <a:avLst/>
          </a:prstGeom>
          <a:ln>
            <a:noFill/>
          </a:ln>
        </p:spPr>
      </p:pic>
      <p:pic>
        <p:nvPicPr>
          <p:cNvPr id="11" name="Picture 31">
            <a:extLst>
              <a:ext uri="{FF2B5EF4-FFF2-40B4-BE49-F238E27FC236}">
                <a16:creationId xmlns:a16="http://schemas.microsoft.com/office/drawing/2014/main" id="{8C56B3B2-426F-319D-64B6-418ADA49F774}"/>
              </a:ext>
            </a:extLst>
          </p:cNvPr>
          <p:cNvPicPr/>
          <p:nvPr/>
        </p:nvPicPr>
        <p:blipFill>
          <a:blip r:embed="rId7"/>
          <a:stretch/>
        </p:blipFill>
        <p:spPr>
          <a:xfrm>
            <a:off x="6301348" y="2068437"/>
            <a:ext cx="1713600" cy="162720"/>
          </a:xfrm>
          <a:prstGeom prst="rect">
            <a:avLst/>
          </a:prstGeom>
          <a:ln>
            <a:noFill/>
          </a:ln>
        </p:spPr>
      </p:pic>
      <p:pic>
        <p:nvPicPr>
          <p:cNvPr id="12" name="Picture 32">
            <a:extLst>
              <a:ext uri="{FF2B5EF4-FFF2-40B4-BE49-F238E27FC236}">
                <a16:creationId xmlns:a16="http://schemas.microsoft.com/office/drawing/2014/main" id="{5E246F2F-4B18-48E0-2D0F-60EB4F4CC50C}"/>
              </a:ext>
            </a:extLst>
          </p:cNvPr>
          <p:cNvPicPr/>
          <p:nvPr/>
        </p:nvPicPr>
        <p:blipFill>
          <a:blip r:embed="rId8"/>
          <a:stretch/>
        </p:blipFill>
        <p:spPr>
          <a:xfrm>
            <a:off x="8278828" y="2071317"/>
            <a:ext cx="1736280" cy="156960"/>
          </a:xfrm>
          <a:prstGeom prst="rect">
            <a:avLst/>
          </a:prstGeom>
          <a:ln>
            <a:noFill/>
          </a:ln>
        </p:spPr>
      </p:pic>
      <p:pic>
        <p:nvPicPr>
          <p:cNvPr id="13" name="Picture 33">
            <a:extLst>
              <a:ext uri="{FF2B5EF4-FFF2-40B4-BE49-F238E27FC236}">
                <a16:creationId xmlns:a16="http://schemas.microsoft.com/office/drawing/2014/main" id="{D73FE0BB-9018-3B46-5CCD-24F0F32BF811}"/>
              </a:ext>
            </a:extLst>
          </p:cNvPr>
          <p:cNvPicPr/>
          <p:nvPr/>
        </p:nvPicPr>
        <p:blipFill>
          <a:blip r:embed="rId9"/>
          <a:stretch/>
        </p:blipFill>
        <p:spPr>
          <a:xfrm>
            <a:off x="6407188" y="1535277"/>
            <a:ext cx="1501920" cy="442800"/>
          </a:xfrm>
          <a:prstGeom prst="rect">
            <a:avLst/>
          </a:prstGeom>
          <a:ln>
            <a:noFill/>
          </a:ln>
        </p:spPr>
      </p:pic>
      <p:pic>
        <p:nvPicPr>
          <p:cNvPr id="14" name="Picture 34">
            <a:extLst>
              <a:ext uri="{FF2B5EF4-FFF2-40B4-BE49-F238E27FC236}">
                <a16:creationId xmlns:a16="http://schemas.microsoft.com/office/drawing/2014/main" id="{706ADCBF-5324-EEEB-3245-DAE1E43345D2}"/>
              </a:ext>
            </a:extLst>
          </p:cNvPr>
          <p:cNvPicPr/>
          <p:nvPr/>
        </p:nvPicPr>
        <p:blipFill>
          <a:blip r:embed="rId10"/>
          <a:stretch/>
        </p:blipFill>
        <p:spPr>
          <a:xfrm>
            <a:off x="8412028" y="1495317"/>
            <a:ext cx="1469520" cy="482760"/>
          </a:xfrm>
          <a:prstGeom prst="rect">
            <a:avLst/>
          </a:prstGeom>
          <a:ln>
            <a:noFill/>
          </a:ln>
        </p:spPr>
      </p:pic>
      <p:pic>
        <p:nvPicPr>
          <p:cNvPr id="15" name="Picture 24">
            <a:extLst>
              <a:ext uri="{FF2B5EF4-FFF2-40B4-BE49-F238E27FC236}">
                <a16:creationId xmlns:a16="http://schemas.microsoft.com/office/drawing/2014/main" id="{1804CF16-35AA-264C-D350-A3C40DEFE92C}"/>
              </a:ext>
            </a:extLst>
          </p:cNvPr>
          <p:cNvPicPr/>
          <p:nvPr/>
        </p:nvPicPr>
        <p:blipFill>
          <a:blip r:embed="rId11"/>
          <a:stretch/>
        </p:blipFill>
        <p:spPr>
          <a:xfrm>
            <a:off x="2467708" y="1170237"/>
            <a:ext cx="3001320" cy="1446120"/>
          </a:xfrm>
          <a:prstGeom prst="rect">
            <a:avLst/>
          </a:prstGeom>
          <a:ln>
            <a:noFill/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014523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E6EF2DD4-1428-4F29-BED0-012580DEB727}"/>
              </a:ext>
            </a:extLst>
          </p:cNvPr>
          <p:cNvGrpSpPr/>
          <p:nvPr/>
        </p:nvGrpSpPr>
        <p:grpSpPr>
          <a:xfrm>
            <a:off x="1" y="6496048"/>
            <a:ext cx="12192000" cy="381103"/>
            <a:chOff x="-1" y="6496048"/>
            <a:chExt cx="12192001" cy="361952"/>
          </a:xfrm>
        </p:grpSpPr>
        <p:sp>
          <p:nvSpPr>
            <p:cNvPr id="17" name="Dikdörtgen 10">
              <a:extLst>
                <a:ext uri="{FF2B5EF4-FFF2-40B4-BE49-F238E27FC236}">
                  <a16:creationId xmlns:a16="http://schemas.microsoft.com/office/drawing/2014/main" id="{C14596DF-271A-400A-B0AE-693FCDF2F217}"/>
                </a:ext>
              </a:extLst>
            </p:cNvPr>
            <p:cNvSpPr/>
            <p:nvPr/>
          </p:nvSpPr>
          <p:spPr>
            <a:xfrm>
              <a:off x="10115547" y="6496049"/>
              <a:ext cx="2076453" cy="361951"/>
            </a:xfrm>
            <a:prstGeom prst="rect">
              <a:avLst/>
            </a:prstGeom>
            <a:solidFill>
              <a:srgbClr val="2198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dirty="0"/>
                <a:t>   Özgür Martin</a:t>
              </a:r>
            </a:p>
          </p:txBody>
        </p:sp>
        <p:sp>
          <p:nvSpPr>
            <p:cNvPr id="18" name="Dikdörtgen 10">
              <a:extLst>
                <a:ext uri="{FF2B5EF4-FFF2-40B4-BE49-F238E27FC236}">
                  <a16:creationId xmlns:a16="http://schemas.microsoft.com/office/drawing/2014/main" id="{84A5B1F6-64B9-4792-8088-33FD44F5342F}"/>
                </a:ext>
              </a:extLst>
            </p:cNvPr>
            <p:cNvSpPr/>
            <p:nvPr/>
          </p:nvSpPr>
          <p:spPr>
            <a:xfrm>
              <a:off x="-1" y="6496048"/>
              <a:ext cx="10151743" cy="361952"/>
            </a:xfrm>
            <a:prstGeom prst="rect">
              <a:avLst/>
            </a:prstGeom>
            <a:solidFill>
              <a:srgbClr val="2198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altLang="ko-KR" dirty="0" err="1">
                  <a:solidFill>
                    <a:schemeClr val="bg1"/>
                  </a:solidFill>
                  <a:cs typeface="Arial" pitchFamily="34" charset="0"/>
                </a:rPr>
                <a:t>Neural</a:t>
              </a:r>
              <a:r>
                <a:rPr lang="tr-TR" altLang="ko-KR" dirty="0">
                  <a:solidFill>
                    <a:schemeClr val="bg1"/>
                  </a:solidFill>
                  <a:cs typeface="Arial" pitchFamily="34" charset="0"/>
                </a:rPr>
                <a:t> Networks</a:t>
              </a:r>
            </a:p>
          </p:txBody>
        </p:sp>
      </p:grpSp>
      <p:sp>
        <p:nvSpPr>
          <p:cNvPr id="5" name="CustomShape 1">
            <a:extLst>
              <a:ext uri="{FF2B5EF4-FFF2-40B4-BE49-F238E27FC236}">
                <a16:creationId xmlns:a16="http://schemas.microsoft.com/office/drawing/2014/main" id="{CFB1E203-4A85-5F81-2BB0-3238441FA7C2}"/>
              </a:ext>
            </a:extLst>
          </p:cNvPr>
          <p:cNvSpPr/>
          <p:nvPr/>
        </p:nvSpPr>
        <p:spPr>
          <a:xfrm>
            <a:off x="4502553" y="1505215"/>
            <a:ext cx="3017160" cy="289296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round/>
          </a:ln>
          <a:effectLst>
            <a:outerShdw blurRad="40000" dist="20160" dir="5400000" rotWithShape="0">
              <a:srgbClr val="000000">
                <a:alpha val="38000"/>
              </a:srgb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/>
        </p:style>
      </p:sp>
      <p:sp>
        <p:nvSpPr>
          <p:cNvPr id="6" name="CustomShape 2">
            <a:extLst>
              <a:ext uri="{FF2B5EF4-FFF2-40B4-BE49-F238E27FC236}">
                <a16:creationId xmlns:a16="http://schemas.microsoft.com/office/drawing/2014/main" id="{97650728-C226-0E28-14DD-8669FE84F890}"/>
              </a:ext>
            </a:extLst>
          </p:cNvPr>
          <p:cNvSpPr/>
          <p:nvPr/>
        </p:nvSpPr>
        <p:spPr>
          <a:xfrm>
            <a:off x="2909913" y="2190295"/>
            <a:ext cx="290520" cy="290520"/>
          </a:xfrm>
          <a:prstGeom prst="ellipse">
            <a:avLst/>
          </a:prstGeom>
          <a:ln>
            <a:rou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/>
        </p:style>
      </p:sp>
      <p:sp>
        <p:nvSpPr>
          <p:cNvPr id="7" name="CustomShape 3">
            <a:extLst>
              <a:ext uri="{FF2B5EF4-FFF2-40B4-BE49-F238E27FC236}">
                <a16:creationId xmlns:a16="http://schemas.microsoft.com/office/drawing/2014/main" id="{55D802E6-9246-634C-2CE6-72D8304B4A4E}"/>
              </a:ext>
            </a:extLst>
          </p:cNvPr>
          <p:cNvSpPr/>
          <p:nvPr/>
        </p:nvSpPr>
        <p:spPr>
          <a:xfrm>
            <a:off x="2909913" y="3116575"/>
            <a:ext cx="290520" cy="290520"/>
          </a:xfrm>
          <a:prstGeom prst="ellipse">
            <a:avLst/>
          </a:prstGeom>
          <a:ln>
            <a:rou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/>
        </p:style>
      </p:sp>
      <p:sp>
        <p:nvSpPr>
          <p:cNvPr id="8" name="CustomShape 4">
            <a:extLst>
              <a:ext uri="{FF2B5EF4-FFF2-40B4-BE49-F238E27FC236}">
                <a16:creationId xmlns:a16="http://schemas.microsoft.com/office/drawing/2014/main" id="{72A4B2AE-BCC3-0DAC-7C4C-891496BD931B}"/>
              </a:ext>
            </a:extLst>
          </p:cNvPr>
          <p:cNvSpPr/>
          <p:nvPr/>
        </p:nvSpPr>
        <p:spPr>
          <a:xfrm>
            <a:off x="6672993" y="1982935"/>
            <a:ext cx="290520" cy="290520"/>
          </a:xfrm>
          <a:prstGeom prst="ellipse">
            <a:avLst/>
          </a:prstGeom>
          <a:ln>
            <a:rou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/>
        </p:style>
      </p:sp>
      <p:sp>
        <p:nvSpPr>
          <p:cNvPr id="9" name="CustomShape 5">
            <a:extLst>
              <a:ext uri="{FF2B5EF4-FFF2-40B4-BE49-F238E27FC236}">
                <a16:creationId xmlns:a16="http://schemas.microsoft.com/office/drawing/2014/main" id="{4502AF48-1582-6D59-CB13-79AD7B7EE6F4}"/>
              </a:ext>
            </a:extLst>
          </p:cNvPr>
          <p:cNvSpPr/>
          <p:nvPr/>
        </p:nvSpPr>
        <p:spPr>
          <a:xfrm>
            <a:off x="8663073" y="2002015"/>
            <a:ext cx="290520" cy="290520"/>
          </a:xfrm>
          <a:prstGeom prst="ellipse">
            <a:avLst/>
          </a:prstGeom>
          <a:ln>
            <a:rou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/>
        </p:style>
      </p:sp>
      <p:sp>
        <p:nvSpPr>
          <p:cNvPr id="10" name="CustomShape 6">
            <a:extLst>
              <a:ext uri="{FF2B5EF4-FFF2-40B4-BE49-F238E27FC236}">
                <a16:creationId xmlns:a16="http://schemas.microsoft.com/office/drawing/2014/main" id="{2CD31E96-7D4B-9651-7DAE-E5D9109454E5}"/>
              </a:ext>
            </a:extLst>
          </p:cNvPr>
          <p:cNvSpPr/>
          <p:nvPr/>
        </p:nvSpPr>
        <p:spPr>
          <a:xfrm>
            <a:off x="8663073" y="2970775"/>
            <a:ext cx="290520" cy="290520"/>
          </a:xfrm>
          <a:prstGeom prst="ellipse">
            <a:avLst/>
          </a:prstGeom>
          <a:ln>
            <a:rou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/>
        </p:style>
      </p:sp>
      <p:sp>
        <p:nvSpPr>
          <p:cNvPr id="11" name="CustomShape 7">
            <a:extLst>
              <a:ext uri="{FF2B5EF4-FFF2-40B4-BE49-F238E27FC236}">
                <a16:creationId xmlns:a16="http://schemas.microsoft.com/office/drawing/2014/main" id="{C16E276C-2506-28CA-FA51-E54BED7DA010}"/>
              </a:ext>
            </a:extLst>
          </p:cNvPr>
          <p:cNvSpPr/>
          <p:nvPr/>
        </p:nvSpPr>
        <p:spPr>
          <a:xfrm>
            <a:off x="8663073" y="3867175"/>
            <a:ext cx="290520" cy="290520"/>
          </a:xfrm>
          <a:prstGeom prst="ellipse">
            <a:avLst/>
          </a:prstGeom>
          <a:ln>
            <a:rou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/>
        </p:style>
      </p:sp>
      <p:sp>
        <p:nvSpPr>
          <p:cNvPr id="12" name="CustomShape 8">
            <a:extLst>
              <a:ext uri="{FF2B5EF4-FFF2-40B4-BE49-F238E27FC236}">
                <a16:creationId xmlns:a16="http://schemas.microsoft.com/office/drawing/2014/main" id="{AE49D39E-B9FC-375C-B76F-8F5DE30B6C90}"/>
              </a:ext>
            </a:extLst>
          </p:cNvPr>
          <p:cNvSpPr/>
          <p:nvPr/>
        </p:nvSpPr>
        <p:spPr>
          <a:xfrm>
            <a:off x="6672993" y="2998855"/>
            <a:ext cx="290520" cy="290520"/>
          </a:xfrm>
          <a:prstGeom prst="ellipse">
            <a:avLst/>
          </a:prstGeom>
          <a:ln>
            <a:rou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/>
        </p:style>
      </p:sp>
      <p:sp>
        <p:nvSpPr>
          <p:cNvPr id="13" name="CustomShape 9">
            <a:extLst>
              <a:ext uri="{FF2B5EF4-FFF2-40B4-BE49-F238E27FC236}">
                <a16:creationId xmlns:a16="http://schemas.microsoft.com/office/drawing/2014/main" id="{79C7CA04-E95E-8C5D-45A3-3CE0785E61CC}"/>
              </a:ext>
            </a:extLst>
          </p:cNvPr>
          <p:cNvSpPr/>
          <p:nvPr/>
        </p:nvSpPr>
        <p:spPr>
          <a:xfrm rot="5400000">
            <a:off x="2833593" y="2646415"/>
            <a:ext cx="527400" cy="36360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1800" b="1" strike="noStrike" spc="-1">
                <a:solidFill>
                  <a:srgbClr val="AB3348"/>
                </a:solidFill>
                <a:latin typeface="Times New Roman"/>
                <a:ea typeface="DejaVu Sans"/>
              </a:rPr>
              <a:t>. . . </a:t>
            </a:r>
            <a:endParaRPr lang="en-US" sz="1800" b="0" strike="noStrike" spc="-1">
              <a:latin typeface="Arial"/>
            </a:endParaRPr>
          </a:p>
        </p:txBody>
      </p:sp>
      <p:sp>
        <p:nvSpPr>
          <p:cNvPr id="14" name="CustomShape 10">
            <a:extLst>
              <a:ext uri="{FF2B5EF4-FFF2-40B4-BE49-F238E27FC236}">
                <a16:creationId xmlns:a16="http://schemas.microsoft.com/office/drawing/2014/main" id="{E84A1E44-F71C-B916-6975-E98CA435454B}"/>
              </a:ext>
            </a:extLst>
          </p:cNvPr>
          <p:cNvSpPr/>
          <p:nvPr/>
        </p:nvSpPr>
        <p:spPr>
          <a:xfrm rot="5400000">
            <a:off x="6608553" y="2494495"/>
            <a:ext cx="527400" cy="36360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1800" b="1" strike="noStrike" spc="-1">
                <a:solidFill>
                  <a:srgbClr val="AB3348"/>
                </a:solidFill>
                <a:latin typeface="Times New Roman"/>
                <a:ea typeface="DejaVu Sans"/>
              </a:rPr>
              <a:t>. . . </a:t>
            </a:r>
            <a:endParaRPr lang="en-US" sz="1800" b="0" strike="noStrike" spc="-1">
              <a:latin typeface="Arial"/>
            </a:endParaRPr>
          </a:p>
        </p:txBody>
      </p:sp>
      <p:sp>
        <p:nvSpPr>
          <p:cNvPr id="15" name="CustomShape 11">
            <a:extLst>
              <a:ext uri="{FF2B5EF4-FFF2-40B4-BE49-F238E27FC236}">
                <a16:creationId xmlns:a16="http://schemas.microsoft.com/office/drawing/2014/main" id="{03F943B8-EEB8-CD6A-39C7-C0ECC8BBBBD7}"/>
              </a:ext>
            </a:extLst>
          </p:cNvPr>
          <p:cNvSpPr/>
          <p:nvPr/>
        </p:nvSpPr>
        <p:spPr>
          <a:xfrm rot="5400000">
            <a:off x="8588193" y="2473615"/>
            <a:ext cx="527400" cy="36360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1800" b="1" strike="noStrike" spc="-1">
                <a:solidFill>
                  <a:srgbClr val="AB3348"/>
                </a:solidFill>
                <a:latin typeface="Times New Roman"/>
                <a:ea typeface="DejaVu Sans"/>
              </a:rPr>
              <a:t>. . . </a:t>
            </a:r>
            <a:endParaRPr lang="en-US" sz="1800" b="0" strike="noStrike" spc="-1">
              <a:latin typeface="Arial"/>
            </a:endParaRPr>
          </a:p>
        </p:txBody>
      </p:sp>
      <p:sp>
        <p:nvSpPr>
          <p:cNvPr id="19" name="CustomShape 12">
            <a:extLst>
              <a:ext uri="{FF2B5EF4-FFF2-40B4-BE49-F238E27FC236}">
                <a16:creationId xmlns:a16="http://schemas.microsoft.com/office/drawing/2014/main" id="{39E7E8D5-D6A6-040F-8C65-BFFACBC0B9DA}"/>
              </a:ext>
            </a:extLst>
          </p:cNvPr>
          <p:cNvSpPr/>
          <p:nvPr/>
        </p:nvSpPr>
        <p:spPr>
          <a:xfrm rot="5400000">
            <a:off x="8588193" y="3434095"/>
            <a:ext cx="527400" cy="36360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1800" b="1" strike="noStrike" spc="-1">
                <a:solidFill>
                  <a:srgbClr val="AB3348"/>
                </a:solidFill>
                <a:latin typeface="Times New Roman"/>
                <a:ea typeface="DejaVu Sans"/>
              </a:rPr>
              <a:t>. . . </a:t>
            </a:r>
            <a:endParaRPr lang="en-US" sz="1800" b="0" strike="noStrike" spc="-1">
              <a:latin typeface="Arial"/>
            </a:endParaRPr>
          </a:p>
        </p:txBody>
      </p:sp>
      <p:sp>
        <p:nvSpPr>
          <p:cNvPr id="20" name="CustomShape 13">
            <a:extLst>
              <a:ext uri="{FF2B5EF4-FFF2-40B4-BE49-F238E27FC236}">
                <a16:creationId xmlns:a16="http://schemas.microsoft.com/office/drawing/2014/main" id="{315D298C-60CA-14A4-D69C-EBDBCB58383E}"/>
              </a:ext>
            </a:extLst>
          </p:cNvPr>
          <p:cNvSpPr/>
          <p:nvPr/>
        </p:nvSpPr>
        <p:spPr>
          <a:xfrm>
            <a:off x="2904153" y="3628495"/>
            <a:ext cx="290520" cy="290520"/>
          </a:xfrm>
          <a:prstGeom prst="ellipse">
            <a:avLst/>
          </a:prstGeom>
          <a:solidFill>
            <a:srgbClr val="AB3348"/>
          </a:solidFill>
          <a:ln>
            <a:rou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/>
        </p:style>
      </p:sp>
      <p:sp>
        <p:nvSpPr>
          <p:cNvPr id="21" name="CustomShape 14">
            <a:extLst>
              <a:ext uri="{FF2B5EF4-FFF2-40B4-BE49-F238E27FC236}">
                <a16:creationId xmlns:a16="http://schemas.microsoft.com/office/drawing/2014/main" id="{0C532BA4-DCD7-150D-5D4A-793AEF29CAC7}"/>
              </a:ext>
            </a:extLst>
          </p:cNvPr>
          <p:cNvSpPr/>
          <p:nvPr/>
        </p:nvSpPr>
        <p:spPr>
          <a:xfrm>
            <a:off x="6672993" y="3535255"/>
            <a:ext cx="290520" cy="290520"/>
          </a:xfrm>
          <a:prstGeom prst="ellipse">
            <a:avLst/>
          </a:prstGeom>
          <a:solidFill>
            <a:srgbClr val="AB3348"/>
          </a:solidFill>
          <a:ln>
            <a:rou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/>
        </p:style>
      </p:sp>
      <p:sp>
        <p:nvSpPr>
          <p:cNvPr id="22" name="Line 15">
            <a:extLst>
              <a:ext uri="{FF2B5EF4-FFF2-40B4-BE49-F238E27FC236}">
                <a16:creationId xmlns:a16="http://schemas.microsoft.com/office/drawing/2014/main" id="{D2325B3E-3AC5-8B0C-AF2B-BBE67ACD9C80}"/>
              </a:ext>
            </a:extLst>
          </p:cNvPr>
          <p:cNvSpPr/>
          <p:nvPr/>
        </p:nvSpPr>
        <p:spPr>
          <a:xfrm flipV="1">
            <a:off x="3201513" y="2125855"/>
            <a:ext cx="1799640" cy="210240"/>
          </a:xfrm>
          <a:prstGeom prst="line">
            <a:avLst/>
          </a:prstGeom>
          <a:ln>
            <a:solidFill>
              <a:srgbClr val="BA0033"/>
            </a:solidFill>
            <a:round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/>
        </p:style>
      </p:sp>
      <p:sp>
        <p:nvSpPr>
          <p:cNvPr id="23" name="Line 16">
            <a:extLst>
              <a:ext uri="{FF2B5EF4-FFF2-40B4-BE49-F238E27FC236}">
                <a16:creationId xmlns:a16="http://schemas.microsoft.com/office/drawing/2014/main" id="{2CD9589E-D8E3-7152-B2C5-9AE295CA430F}"/>
              </a:ext>
            </a:extLst>
          </p:cNvPr>
          <p:cNvSpPr/>
          <p:nvPr/>
        </p:nvSpPr>
        <p:spPr>
          <a:xfrm>
            <a:off x="3201513" y="2336095"/>
            <a:ext cx="1799640" cy="709920"/>
          </a:xfrm>
          <a:prstGeom prst="line">
            <a:avLst/>
          </a:prstGeom>
          <a:ln>
            <a:solidFill>
              <a:srgbClr val="BA0033"/>
            </a:solidFill>
            <a:round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/>
        </p:style>
      </p:sp>
      <p:sp>
        <p:nvSpPr>
          <p:cNvPr id="24" name="Line 17">
            <a:extLst>
              <a:ext uri="{FF2B5EF4-FFF2-40B4-BE49-F238E27FC236}">
                <a16:creationId xmlns:a16="http://schemas.microsoft.com/office/drawing/2014/main" id="{D4521CE2-F3C0-A92D-F962-5C998E6A3D3C}"/>
              </a:ext>
            </a:extLst>
          </p:cNvPr>
          <p:cNvSpPr/>
          <p:nvPr/>
        </p:nvSpPr>
        <p:spPr>
          <a:xfrm flipV="1">
            <a:off x="3201513" y="2125855"/>
            <a:ext cx="1799640" cy="1136520"/>
          </a:xfrm>
          <a:prstGeom prst="line">
            <a:avLst/>
          </a:prstGeom>
          <a:ln>
            <a:solidFill>
              <a:srgbClr val="BA0033"/>
            </a:solidFill>
            <a:round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/>
        </p:style>
      </p:sp>
      <p:sp>
        <p:nvSpPr>
          <p:cNvPr id="25" name="Line 18">
            <a:extLst>
              <a:ext uri="{FF2B5EF4-FFF2-40B4-BE49-F238E27FC236}">
                <a16:creationId xmlns:a16="http://schemas.microsoft.com/office/drawing/2014/main" id="{4A2B2019-E918-D2BD-36F6-10C1D4D9CDFC}"/>
              </a:ext>
            </a:extLst>
          </p:cNvPr>
          <p:cNvSpPr/>
          <p:nvPr/>
        </p:nvSpPr>
        <p:spPr>
          <a:xfrm flipV="1">
            <a:off x="3201513" y="3046015"/>
            <a:ext cx="1799640" cy="216360"/>
          </a:xfrm>
          <a:prstGeom prst="line">
            <a:avLst/>
          </a:prstGeom>
          <a:ln>
            <a:solidFill>
              <a:srgbClr val="BA0033"/>
            </a:solidFill>
            <a:round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/>
        </p:style>
      </p:sp>
      <p:sp>
        <p:nvSpPr>
          <p:cNvPr id="26" name="Line 19">
            <a:extLst>
              <a:ext uri="{FF2B5EF4-FFF2-40B4-BE49-F238E27FC236}">
                <a16:creationId xmlns:a16="http://schemas.microsoft.com/office/drawing/2014/main" id="{E7564F74-032B-BE46-8E31-6B1D0EA572D7}"/>
              </a:ext>
            </a:extLst>
          </p:cNvPr>
          <p:cNvSpPr/>
          <p:nvPr/>
        </p:nvSpPr>
        <p:spPr>
          <a:xfrm>
            <a:off x="6964593" y="2128375"/>
            <a:ext cx="1698120" cy="19440"/>
          </a:xfrm>
          <a:prstGeom prst="line">
            <a:avLst/>
          </a:prstGeom>
          <a:ln>
            <a:solidFill>
              <a:srgbClr val="BA0033"/>
            </a:solidFill>
            <a:round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/>
        </p:style>
      </p:sp>
      <p:sp>
        <p:nvSpPr>
          <p:cNvPr id="27" name="Line 20">
            <a:extLst>
              <a:ext uri="{FF2B5EF4-FFF2-40B4-BE49-F238E27FC236}">
                <a16:creationId xmlns:a16="http://schemas.microsoft.com/office/drawing/2014/main" id="{53E12F6A-D07E-7EE5-FC90-81521B0FBA98}"/>
              </a:ext>
            </a:extLst>
          </p:cNvPr>
          <p:cNvSpPr/>
          <p:nvPr/>
        </p:nvSpPr>
        <p:spPr>
          <a:xfrm flipV="1">
            <a:off x="6964593" y="2147815"/>
            <a:ext cx="1698120" cy="996840"/>
          </a:xfrm>
          <a:prstGeom prst="line">
            <a:avLst/>
          </a:prstGeom>
          <a:ln>
            <a:solidFill>
              <a:srgbClr val="BA0033"/>
            </a:solidFill>
            <a:round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/>
        </p:style>
      </p:sp>
      <p:sp>
        <p:nvSpPr>
          <p:cNvPr id="28" name="Line 21">
            <a:extLst>
              <a:ext uri="{FF2B5EF4-FFF2-40B4-BE49-F238E27FC236}">
                <a16:creationId xmlns:a16="http://schemas.microsoft.com/office/drawing/2014/main" id="{F162D154-C7E7-312D-4932-9A92A71508BF}"/>
              </a:ext>
            </a:extLst>
          </p:cNvPr>
          <p:cNvSpPr/>
          <p:nvPr/>
        </p:nvSpPr>
        <p:spPr>
          <a:xfrm flipV="1">
            <a:off x="6964593" y="3116575"/>
            <a:ext cx="1698120" cy="28080"/>
          </a:xfrm>
          <a:prstGeom prst="line">
            <a:avLst/>
          </a:prstGeom>
          <a:ln>
            <a:solidFill>
              <a:srgbClr val="BA0033"/>
            </a:solidFill>
            <a:round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/>
        </p:style>
      </p:sp>
      <p:sp>
        <p:nvSpPr>
          <p:cNvPr id="29" name="Line 22">
            <a:extLst>
              <a:ext uri="{FF2B5EF4-FFF2-40B4-BE49-F238E27FC236}">
                <a16:creationId xmlns:a16="http://schemas.microsoft.com/office/drawing/2014/main" id="{DAC47D7B-0488-CC93-54AE-EF3DC62FEA69}"/>
              </a:ext>
            </a:extLst>
          </p:cNvPr>
          <p:cNvSpPr/>
          <p:nvPr/>
        </p:nvSpPr>
        <p:spPr>
          <a:xfrm>
            <a:off x="6964593" y="3144655"/>
            <a:ext cx="1698120" cy="868320"/>
          </a:xfrm>
          <a:prstGeom prst="line">
            <a:avLst/>
          </a:prstGeom>
          <a:ln>
            <a:solidFill>
              <a:srgbClr val="BA0033"/>
            </a:solidFill>
            <a:round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/>
        </p:style>
      </p:sp>
      <p:sp>
        <p:nvSpPr>
          <p:cNvPr id="30" name="Line 23">
            <a:extLst>
              <a:ext uri="{FF2B5EF4-FFF2-40B4-BE49-F238E27FC236}">
                <a16:creationId xmlns:a16="http://schemas.microsoft.com/office/drawing/2014/main" id="{097A6A24-1263-B20D-2CD1-AD0D34E6ACB4}"/>
              </a:ext>
            </a:extLst>
          </p:cNvPr>
          <p:cNvSpPr/>
          <p:nvPr/>
        </p:nvSpPr>
        <p:spPr>
          <a:xfrm>
            <a:off x="6964593" y="2128375"/>
            <a:ext cx="1698120" cy="988200"/>
          </a:xfrm>
          <a:prstGeom prst="line">
            <a:avLst/>
          </a:prstGeom>
          <a:ln>
            <a:solidFill>
              <a:srgbClr val="BA0033"/>
            </a:solidFill>
            <a:round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/>
        </p:style>
      </p:sp>
      <p:sp>
        <p:nvSpPr>
          <p:cNvPr id="31" name="Line 24">
            <a:extLst>
              <a:ext uri="{FF2B5EF4-FFF2-40B4-BE49-F238E27FC236}">
                <a16:creationId xmlns:a16="http://schemas.microsoft.com/office/drawing/2014/main" id="{CA6C39A0-605B-7B5D-4EED-2BD909F4EDA2}"/>
              </a:ext>
            </a:extLst>
          </p:cNvPr>
          <p:cNvSpPr/>
          <p:nvPr/>
        </p:nvSpPr>
        <p:spPr>
          <a:xfrm>
            <a:off x="6964593" y="2128375"/>
            <a:ext cx="1698120" cy="1884600"/>
          </a:xfrm>
          <a:prstGeom prst="line">
            <a:avLst/>
          </a:prstGeom>
          <a:ln>
            <a:solidFill>
              <a:srgbClr val="BA0033"/>
            </a:solidFill>
            <a:round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/>
        </p:style>
      </p:sp>
      <p:sp>
        <p:nvSpPr>
          <p:cNvPr id="32" name="Line 25">
            <a:extLst>
              <a:ext uri="{FF2B5EF4-FFF2-40B4-BE49-F238E27FC236}">
                <a16:creationId xmlns:a16="http://schemas.microsoft.com/office/drawing/2014/main" id="{3D955955-E071-6973-BCAD-D5A43ACE7B74}"/>
              </a:ext>
            </a:extLst>
          </p:cNvPr>
          <p:cNvSpPr/>
          <p:nvPr/>
        </p:nvSpPr>
        <p:spPr>
          <a:xfrm flipV="1">
            <a:off x="6964593" y="2147815"/>
            <a:ext cx="1698120" cy="1533240"/>
          </a:xfrm>
          <a:prstGeom prst="line">
            <a:avLst/>
          </a:prstGeom>
          <a:ln>
            <a:solidFill>
              <a:srgbClr val="BA0033"/>
            </a:solidFill>
            <a:round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/>
        </p:style>
      </p:sp>
      <p:sp>
        <p:nvSpPr>
          <p:cNvPr id="33" name="Line 26">
            <a:extLst>
              <a:ext uri="{FF2B5EF4-FFF2-40B4-BE49-F238E27FC236}">
                <a16:creationId xmlns:a16="http://schemas.microsoft.com/office/drawing/2014/main" id="{EAC5DE42-C971-56FF-A985-42D18927CD45}"/>
              </a:ext>
            </a:extLst>
          </p:cNvPr>
          <p:cNvSpPr/>
          <p:nvPr/>
        </p:nvSpPr>
        <p:spPr>
          <a:xfrm flipV="1">
            <a:off x="6964593" y="3116575"/>
            <a:ext cx="1698120" cy="564480"/>
          </a:xfrm>
          <a:prstGeom prst="line">
            <a:avLst/>
          </a:prstGeom>
          <a:ln>
            <a:solidFill>
              <a:srgbClr val="BA0033"/>
            </a:solidFill>
            <a:round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/>
        </p:style>
      </p:sp>
      <p:sp>
        <p:nvSpPr>
          <p:cNvPr id="34" name="Line 27">
            <a:extLst>
              <a:ext uri="{FF2B5EF4-FFF2-40B4-BE49-F238E27FC236}">
                <a16:creationId xmlns:a16="http://schemas.microsoft.com/office/drawing/2014/main" id="{A594C95E-8F14-5524-D70E-9D96F2B299B3}"/>
              </a:ext>
            </a:extLst>
          </p:cNvPr>
          <p:cNvSpPr/>
          <p:nvPr/>
        </p:nvSpPr>
        <p:spPr>
          <a:xfrm>
            <a:off x="6964593" y="3681055"/>
            <a:ext cx="1698120" cy="331920"/>
          </a:xfrm>
          <a:prstGeom prst="line">
            <a:avLst/>
          </a:prstGeom>
          <a:ln>
            <a:solidFill>
              <a:srgbClr val="BA0033"/>
            </a:solidFill>
            <a:round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/>
        </p:style>
      </p:sp>
      <p:sp>
        <p:nvSpPr>
          <p:cNvPr id="35" name="Line 28">
            <a:extLst>
              <a:ext uri="{FF2B5EF4-FFF2-40B4-BE49-F238E27FC236}">
                <a16:creationId xmlns:a16="http://schemas.microsoft.com/office/drawing/2014/main" id="{FBE8D640-2A1E-1C2A-988C-29B78DEAA1FA}"/>
              </a:ext>
            </a:extLst>
          </p:cNvPr>
          <p:cNvSpPr/>
          <p:nvPr/>
        </p:nvSpPr>
        <p:spPr>
          <a:xfrm flipV="1">
            <a:off x="3195753" y="2125855"/>
            <a:ext cx="1805400" cy="1648080"/>
          </a:xfrm>
          <a:prstGeom prst="line">
            <a:avLst/>
          </a:prstGeom>
          <a:ln>
            <a:solidFill>
              <a:srgbClr val="BA0033"/>
            </a:solidFill>
            <a:round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/>
        </p:style>
      </p:sp>
      <p:sp>
        <p:nvSpPr>
          <p:cNvPr id="36" name="Line 29">
            <a:extLst>
              <a:ext uri="{FF2B5EF4-FFF2-40B4-BE49-F238E27FC236}">
                <a16:creationId xmlns:a16="http://schemas.microsoft.com/office/drawing/2014/main" id="{CFC0AB51-DBE6-8FD0-7BD0-F34EEB0682BE}"/>
              </a:ext>
            </a:extLst>
          </p:cNvPr>
          <p:cNvSpPr/>
          <p:nvPr/>
        </p:nvSpPr>
        <p:spPr>
          <a:xfrm flipV="1">
            <a:off x="3195753" y="3046015"/>
            <a:ext cx="1805400" cy="727920"/>
          </a:xfrm>
          <a:prstGeom prst="line">
            <a:avLst/>
          </a:prstGeom>
          <a:ln>
            <a:solidFill>
              <a:srgbClr val="BA0033"/>
            </a:solidFill>
            <a:round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/>
        </p:style>
      </p:sp>
      <p:pic>
        <p:nvPicPr>
          <p:cNvPr id="37" name="Picture 127">
            <a:extLst>
              <a:ext uri="{FF2B5EF4-FFF2-40B4-BE49-F238E27FC236}">
                <a16:creationId xmlns:a16="http://schemas.microsoft.com/office/drawing/2014/main" id="{F3A6FA14-EA5E-9C5E-B3ED-FF5E08B3EDD9}"/>
              </a:ext>
            </a:extLst>
          </p:cNvPr>
          <p:cNvPicPr/>
          <p:nvPr/>
        </p:nvPicPr>
        <p:blipFill>
          <a:blip r:embed="rId4"/>
          <a:stretch/>
        </p:blipFill>
        <p:spPr>
          <a:xfrm>
            <a:off x="3755553" y="1613935"/>
            <a:ext cx="342000" cy="315000"/>
          </a:xfrm>
          <a:prstGeom prst="rect">
            <a:avLst/>
          </a:prstGeom>
          <a:ln>
            <a:noFill/>
          </a:ln>
        </p:spPr>
      </p:pic>
      <p:sp>
        <p:nvSpPr>
          <p:cNvPr id="38" name="CustomShape 30">
            <a:extLst>
              <a:ext uri="{FF2B5EF4-FFF2-40B4-BE49-F238E27FC236}">
                <a16:creationId xmlns:a16="http://schemas.microsoft.com/office/drawing/2014/main" id="{C4CEDC2E-A40B-F95D-B772-67B5E2DBB8FF}"/>
              </a:ext>
            </a:extLst>
          </p:cNvPr>
          <p:cNvSpPr/>
          <p:nvPr/>
        </p:nvSpPr>
        <p:spPr>
          <a:xfrm>
            <a:off x="5001513" y="1980415"/>
            <a:ext cx="290520" cy="290520"/>
          </a:xfrm>
          <a:prstGeom prst="ellipse">
            <a:avLst/>
          </a:prstGeom>
          <a:ln>
            <a:rou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/>
        </p:style>
      </p:sp>
      <p:sp>
        <p:nvSpPr>
          <p:cNvPr id="39" name="CustomShape 31">
            <a:extLst>
              <a:ext uri="{FF2B5EF4-FFF2-40B4-BE49-F238E27FC236}">
                <a16:creationId xmlns:a16="http://schemas.microsoft.com/office/drawing/2014/main" id="{73203497-F0CF-F7C5-0159-2115B9488B40}"/>
              </a:ext>
            </a:extLst>
          </p:cNvPr>
          <p:cNvSpPr/>
          <p:nvPr/>
        </p:nvSpPr>
        <p:spPr>
          <a:xfrm>
            <a:off x="5001513" y="2900215"/>
            <a:ext cx="290520" cy="290520"/>
          </a:xfrm>
          <a:prstGeom prst="ellipse">
            <a:avLst/>
          </a:prstGeom>
          <a:ln>
            <a:rou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/>
        </p:style>
      </p:sp>
      <p:sp>
        <p:nvSpPr>
          <p:cNvPr id="40" name="CustomShape 32">
            <a:extLst>
              <a:ext uri="{FF2B5EF4-FFF2-40B4-BE49-F238E27FC236}">
                <a16:creationId xmlns:a16="http://schemas.microsoft.com/office/drawing/2014/main" id="{A3CF8883-5790-6A54-9036-F31407E5436F}"/>
              </a:ext>
            </a:extLst>
          </p:cNvPr>
          <p:cNvSpPr/>
          <p:nvPr/>
        </p:nvSpPr>
        <p:spPr>
          <a:xfrm rot="5400000">
            <a:off x="4936713" y="2436175"/>
            <a:ext cx="527400" cy="36360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1800" b="1" strike="noStrike" spc="-1">
                <a:solidFill>
                  <a:srgbClr val="AB3348"/>
                </a:solidFill>
                <a:latin typeface="Times New Roman"/>
                <a:ea typeface="DejaVu Sans"/>
              </a:rPr>
              <a:t>. . . </a:t>
            </a:r>
            <a:endParaRPr lang="en-US" sz="1800" b="0" strike="noStrike" spc="-1">
              <a:latin typeface="Arial"/>
            </a:endParaRPr>
          </a:p>
        </p:txBody>
      </p:sp>
      <p:sp>
        <p:nvSpPr>
          <p:cNvPr id="41" name="CustomShape 33">
            <a:extLst>
              <a:ext uri="{FF2B5EF4-FFF2-40B4-BE49-F238E27FC236}">
                <a16:creationId xmlns:a16="http://schemas.microsoft.com/office/drawing/2014/main" id="{34223088-5095-2A52-FE5B-63F52D464F13}"/>
              </a:ext>
            </a:extLst>
          </p:cNvPr>
          <p:cNvSpPr/>
          <p:nvPr/>
        </p:nvSpPr>
        <p:spPr>
          <a:xfrm>
            <a:off x="5001513" y="3514735"/>
            <a:ext cx="290520" cy="290520"/>
          </a:xfrm>
          <a:prstGeom prst="ellipse">
            <a:avLst/>
          </a:prstGeom>
          <a:solidFill>
            <a:srgbClr val="AB3348"/>
          </a:solidFill>
          <a:ln>
            <a:rou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/>
        </p:style>
      </p:sp>
      <p:sp>
        <p:nvSpPr>
          <p:cNvPr id="42" name="CustomShape 34">
            <a:extLst>
              <a:ext uri="{FF2B5EF4-FFF2-40B4-BE49-F238E27FC236}">
                <a16:creationId xmlns:a16="http://schemas.microsoft.com/office/drawing/2014/main" id="{D4390E11-81F9-75C7-3549-BDC6EAF50A5C}"/>
              </a:ext>
            </a:extLst>
          </p:cNvPr>
          <p:cNvSpPr/>
          <p:nvPr/>
        </p:nvSpPr>
        <p:spPr>
          <a:xfrm>
            <a:off x="680973" y="441145"/>
            <a:ext cx="8170920" cy="106488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>
            <a:noAutofit/>
          </a:bodyPr>
          <a:lstStyle/>
          <a:p>
            <a:pPr>
              <a:lnSpc>
                <a:spcPts val="3200"/>
              </a:lnSpc>
            </a:pPr>
            <a:r>
              <a:rPr lang="en-US" sz="2800" b="0" strike="noStrike" spc="-1" dirty="0">
                <a:solidFill>
                  <a:srgbClr val="AB3348"/>
                </a:solidFill>
                <a:latin typeface="Times New Roman"/>
                <a:ea typeface="DejaVu Sans"/>
              </a:rPr>
              <a:t>Network Function</a:t>
            </a:r>
            <a:endParaRPr lang="en-US" sz="2800" b="0" strike="noStrike" spc="-1" dirty="0">
              <a:latin typeface="Arial"/>
            </a:endParaRPr>
          </a:p>
        </p:txBody>
      </p:sp>
      <p:pic>
        <p:nvPicPr>
          <p:cNvPr id="43" name="Picture 242">
            <a:extLst>
              <a:ext uri="{FF2B5EF4-FFF2-40B4-BE49-F238E27FC236}">
                <a16:creationId xmlns:a16="http://schemas.microsoft.com/office/drawing/2014/main" id="{387965E7-1D49-43FA-729B-52CCCDBFA23B}"/>
              </a:ext>
            </a:extLst>
          </p:cNvPr>
          <p:cNvPicPr/>
          <p:nvPr/>
        </p:nvPicPr>
        <p:blipFill>
          <a:blip r:embed="rId5"/>
          <a:stretch/>
        </p:blipFill>
        <p:spPr>
          <a:xfrm>
            <a:off x="7893033" y="1600975"/>
            <a:ext cx="315000" cy="315000"/>
          </a:xfrm>
          <a:prstGeom prst="rect">
            <a:avLst/>
          </a:prstGeom>
          <a:ln>
            <a:noFill/>
          </a:ln>
        </p:spPr>
      </p:pic>
      <p:sp>
        <p:nvSpPr>
          <p:cNvPr id="44" name="CustomShape 35">
            <a:extLst>
              <a:ext uri="{FF2B5EF4-FFF2-40B4-BE49-F238E27FC236}">
                <a16:creationId xmlns:a16="http://schemas.microsoft.com/office/drawing/2014/main" id="{77F614DE-F165-8D5D-4691-68800F781BCD}"/>
              </a:ext>
            </a:extLst>
          </p:cNvPr>
          <p:cNvSpPr/>
          <p:nvPr/>
        </p:nvSpPr>
        <p:spPr>
          <a:xfrm>
            <a:off x="4692633" y="3979495"/>
            <a:ext cx="2533320" cy="36396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1800" b="1" strike="noStrike" spc="-1">
                <a:solidFill>
                  <a:srgbClr val="AB3348"/>
                </a:solidFill>
                <a:latin typeface="Times New Roman"/>
                <a:ea typeface="DejaVu Sans"/>
              </a:rPr>
              <a:t>Multiple Hidden Layers</a:t>
            </a:r>
            <a:endParaRPr lang="en-US" sz="1800" b="0" strike="noStrike" spc="-1">
              <a:latin typeface="Arial"/>
            </a:endParaRPr>
          </a:p>
        </p:txBody>
      </p:sp>
      <p:sp>
        <p:nvSpPr>
          <p:cNvPr id="45" name="CustomShape 36">
            <a:extLst>
              <a:ext uri="{FF2B5EF4-FFF2-40B4-BE49-F238E27FC236}">
                <a16:creationId xmlns:a16="http://schemas.microsoft.com/office/drawing/2014/main" id="{ADC7116A-5BEA-5E85-A515-BF807E475C34}"/>
              </a:ext>
            </a:extLst>
          </p:cNvPr>
          <p:cNvSpPr/>
          <p:nvPr/>
        </p:nvSpPr>
        <p:spPr>
          <a:xfrm>
            <a:off x="5293113" y="2126215"/>
            <a:ext cx="1378800" cy="1017720"/>
          </a:xfrm>
          <a:prstGeom prst="curvedConnector3">
            <a:avLst>
              <a:gd name="adj1" fmla="val 50000"/>
            </a:avLst>
          </a:prstGeom>
          <a:noFill/>
          <a:ln>
            <a:solidFill>
              <a:srgbClr val="BA0033"/>
            </a:solidFill>
            <a:prstDash val="dash"/>
            <a:round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/>
        </p:style>
      </p:sp>
      <p:sp>
        <p:nvSpPr>
          <p:cNvPr id="46" name="CustomShape 37">
            <a:extLst>
              <a:ext uri="{FF2B5EF4-FFF2-40B4-BE49-F238E27FC236}">
                <a16:creationId xmlns:a16="http://schemas.microsoft.com/office/drawing/2014/main" id="{B6FF16D1-BD5D-E163-5846-8B92725835C8}"/>
              </a:ext>
            </a:extLst>
          </p:cNvPr>
          <p:cNvSpPr/>
          <p:nvPr/>
        </p:nvSpPr>
        <p:spPr>
          <a:xfrm flipV="1">
            <a:off x="5382393" y="2126215"/>
            <a:ext cx="1289520" cy="916200"/>
          </a:xfrm>
          <a:prstGeom prst="curvedConnector3">
            <a:avLst>
              <a:gd name="adj1" fmla="val 50000"/>
            </a:avLst>
          </a:prstGeom>
          <a:noFill/>
          <a:ln>
            <a:solidFill>
              <a:srgbClr val="BA0033"/>
            </a:solidFill>
            <a:prstDash val="dash"/>
            <a:round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/>
        </p:style>
      </p:sp>
      <p:sp>
        <p:nvSpPr>
          <p:cNvPr id="47" name="CustomShape 38">
            <a:extLst>
              <a:ext uri="{FF2B5EF4-FFF2-40B4-BE49-F238E27FC236}">
                <a16:creationId xmlns:a16="http://schemas.microsoft.com/office/drawing/2014/main" id="{BA8627EB-C06B-2A40-8B73-B4310E934359}"/>
              </a:ext>
            </a:extLst>
          </p:cNvPr>
          <p:cNvSpPr/>
          <p:nvPr/>
        </p:nvSpPr>
        <p:spPr>
          <a:xfrm rot="5400000" flipH="1" flipV="1">
            <a:off x="5253513" y="2198215"/>
            <a:ext cx="1467360" cy="1365480"/>
          </a:xfrm>
          <a:prstGeom prst="curvedConnector3">
            <a:avLst>
              <a:gd name="adj1" fmla="val 50000"/>
            </a:avLst>
          </a:prstGeom>
          <a:noFill/>
          <a:ln>
            <a:solidFill>
              <a:srgbClr val="BA0033"/>
            </a:solidFill>
            <a:prstDash val="dash"/>
            <a:round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/>
        </p:style>
      </p:sp>
      <p:pic>
        <p:nvPicPr>
          <p:cNvPr id="48" name="Picture 67">
            <a:extLst>
              <a:ext uri="{FF2B5EF4-FFF2-40B4-BE49-F238E27FC236}">
                <a16:creationId xmlns:a16="http://schemas.microsoft.com/office/drawing/2014/main" id="{241E29C1-48C0-157F-ECFE-299B79A266EE}"/>
              </a:ext>
            </a:extLst>
          </p:cNvPr>
          <p:cNvPicPr/>
          <p:nvPr/>
        </p:nvPicPr>
        <p:blipFill>
          <a:blip r:embed="rId6">
            <a:alphaModFix amt="20000"/>
          </a:blip>
          <a:stretch/>
        </p:blipFill>
        <p:spPr>
          <a:xfrm>
            <a:off x="5970993" y="1985815"/>
            <a:ext cx="498960" cy="1864440"/>
          </a:xfrm>
          <a:prstGeom prst="rect">
            <a:avLst/>
          </a:prstGeom>
          <a:ln>
            <a:noFill/>
          </a:ln>
        </p:spPr>
      </p:pic>
      <p:pic>
        <p:nvPicPr>
          <p:cNvPr id="49" name="Picture 149">
            <a:extLst>
              <a:ext uri="{FF2B5EF4-FFF2-40B4-BE49-F238E27FC236}">
                <a16:creationId xmlns:a16="http://schemas.microsoft.com/office/drawing/2014/main" id="{0BBCF0E0-D5E3-8280-D2A7-70E3F6AF3821}"/>
              </a:ext>
            </a:extLst>
          </p:cNvPr>
          <p:cNvPicPr/>
          <p:nvPr/>
        </p:nvPicPr>
        <p:blipFill>
          <a:blip r:embed="rId6">
            <a:alphaModFix amt="20000"/>
          </a:blip>
          <a:stretch/>
        </p:blipFill>
        <p:spPr>
          <a:xfrm>
            <a:off x="5468433" y="1987615"/>
            <a:ext cx="498960" cy="1864440"/>
          </a:xfrm>
          <a:prstGeom prst="rect">
            <a:avLst/>
          </a:prstGeom>
          <a:ln>
            <a:noFill/>
          </a:ln>
        </p:spPr>
      </p:pic>
      <p:sp>
        <p:nvSpPr>
          <p:cNvPr id="50" name="CustomShape 39">
            <a:extLst>
              <a:ext uri="{FF2B5EF4-FFF2-40B4-BE49-F238E27FC236}">
                <a16:creationId xmlns:a16="http://schemas.microsoft.com/office/drawing/2014/main" id="{974ADCAF-9B79-9DA0-6821-19EB2274F44A}"/>
              </a:ext>
            </a:extLst>
          </p:cNvPr>
          <p:cNvSpPr/>
          <p:nvPr/>
        </p:nvSpPr>
        <p:spPr>
          <a:xfrm flipV="1">
            <a:off x="5304993" y="3142135"/>
            <a:ext cx="1367280" cy="470520"/>
          </a:xfrm>
          <a:prstGeom prst="curvedConnector3">
            <a:avLst>
              <a:gd name="adj1" fmla="val 50000"/>
            </a:avLst>
          </a:prstGeom>
          <a:noFill/>
          <a:ln>
            <a:solidFill>
              <a:srgbClr val="BA0033"/>
            </a:solidFill>
            <a:prstDash val="dash"/>
            <a:round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/>
        </p:style>
      </p:sp>
      <p:pic>
        <p:nvPicPr>
          <p:cNvPr id="51" name="Picture 86">
            <a:extLst>
              <a:ext uri="{FF2B5EF4-FFF2-40B4-BE49-F238E27FC236}">
                <a16:creationId xmlns:a16="http://schemas.microsoft.com/office/drawing/2014/main" id="{FC0D0FD9-DD4D-770D-38C9-6CFB78C06999}"/>
              </a:ext>
            </a:extLst>
          </p:cNvPr>
          <p:cNvPicPr/>
          <p:nvPr/>
        </p:nvPicPr>
        <p:blipFill>
          <a:blip r:embed="rId7"/>
          <a:stretch/>
        </p:blipFill>
        <p:spPr>
          <a:xfrm>
            <a:off x="1973913" y="4975975"/>
            <a:ext cx="7796520" cy="995760"/>
          </a:xfrm>
          <a:prstGeom prst="rect">
            <a:avLst/>
          </a:prstGeom>
          <a:ln>
            <a:noFill/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894200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E6EF2DD4-1428-4F29-BED0-012580DEB727}"/>
              </a:ext>
            </a:extLst>
          </p:cNvPr>
          <p:cNvGrpSpPr/>
          <p:nvPr/>
        </p:nvGrpSpPr>
        <p:grpSpPr>
          <a:xfrm>
            <a:off x="1" y="6496048"/>
            <a:ext cx="12192000" cy="381103"/>
            <a:chOff x="-1" y="6496048"/>
            <a:chExt cx="12192001" cy="361952"/>
          </a:xfrm>
        </p:grpSpPr>
        <p:sp>
          <p:nvSpPr>
            <p:cNvPr id="17" name="Dikdörtgen 10">
              <a:extLst>
                <a:ext uri="{FF2B5EF4-FFF2-40B4-BE49-F238E27FC236}">
                  <a16:creationId xmlns:a16="http://schemas.microsoft.com/office/drawing/2014/main" id="{C14596DF-271A-400A-B0AE-693FCDF2F217}"/>
                </a:ext>
              </a:extLst>
            </p:cNvPr>
            <p:cNvSpPr/>
            <p:nvPr/>
          </p:nvSpPr>
          <p:spPr>
            <a:xfrm>
              <a:off x="10115547" y="6496049"/>
              <a:ext cx="2076453" cy="361951"/>
            </a:xfrm>
            <a:prstGeom prst="rect">
              <a:avLst/>
            </a:prstGeom>
            <a:solidFill>
              <a:srgbClr val="2198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dirty="0"/>
                <a:t>   Özgür Martin</a:t>
              </a:r>
            </a:p>
          </p:txBody>
        </p:sp>
        <p:sp>
          <p:nvSpPr>
            <p:cNvPr id="18" name="Dikdörtgen 10">
              <a:extLst>
                <a:ext uri="{FF2B5EF4-FFF2-40B4-BE49-F238E27FC236}">
                  <a16:creationId xmlns:a16="http://schemas.microsoft.com/office/drawing/2014/main" id="{84A5B1F6-64B9-4792-8088-33FD44F5342F}"/>
                </a:ext>
              </a:extLst>
            </p:cNvPr>
            <p:cNvSpPr/>
            <p:nvPr/>
          </p:nvSpPr>
          <p:spPr>
            <a:xfrm>
              <a:off x="-1" y="6496048"/>
              <a:ext cx="10151743" cy="361952"/>
            </a:xfrm>
            <a:prstGeom prst="rect">
              <a:avLst/>
            </a:prstGeom>
            <a:solidFill>
              <a:srgbClr val="2198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altLang="ko-KR" dirty="0" err="1">
                  <a:solidFill>
                    <a:schemeClr val="bg1"/>
                  </a:solidFill>
                  <a:cs typeface="Arial" pitchFamily="34" charset="0"/>
                </a:rPr>
                <a:t>Neural</a:t>
              </a:r>
              <a:r>
                <a:rPr lang="tr-TR" altLang="ko-KR" dirty="0">
                  <a:solidFill>
                    <a:schemeClr val="bg1"/>
                  </a:solidFill>
                  <a:cs typeface="Arial" pitchFamily="34" charset="0"/>
                </a:rPr>
                <a:t> Networks</a:t>
              </a:r>
            </a:p>
          </p:txBody>
        </p:sp>
      </p:grpSp>
      <p:sp>
        <p:nvSpPr>
          <p:cNvPr id="5" name="CustomShape 1">
            <a:extLst>
              <a:ext uri="{FF2B5EF4-FFF2-40B4-BE49-F238E27FC236}">
                <a16:creationId xmlns:a16="http://schemas.microsoft.com/office/drawing/2014/main" id="{D125218C-2C1B-A8AB-367D-6DD2D5BDEE19}"/>
              </a:ext>
            </a:extLst>
          </p:cNvPr>
          <p:cNvSpPr/>
          <p:nvPr/>
        </p:nvSpPr>
        <p:spPr>
          <a:xfrm>
            <a:off x="554715" y="262973"/>
            <a:ext cx="8170920" cy="106488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>
            <a:noAutofit/>
          </a:bodyPr>
          <a:lstStyle/>
          <a:p>
            <a:pPr>
              <a:lnSpc>
                <a:spcPts val="3200"/>
              </a:lnSpc>
            </a:pPr>
            <a:r>
              <a:rPr lang="en-US" sz="2800" b="0" strike="noStrike" spc="-1" dirty="0">
                <a:solidFill>
                  <a:srgbClr val="AB3348"/>
                </a:solidFill>
                <a:latin typeface="Times New Roman"/>
                <a:ea typeface="DejaVu Sans"/>
              </a:rPr>
              <a:t>Network Training</a:t>
            </a:r>
            <a:br>
              <a:rPr dirty="0"/>
            </a:br>
            <a:r>
              <a:rPr lang="en-US" sz="2000" b="0" strike="noStrike" spc="-1" dirty="0">
                <a:solidFill>
                  <a:srgbClr val="AB3348"/>
                </a:solidFill>
                <a:latin typeface="Times New Roman"/>
                <a:ea typeface="DejaVu Sans"/>
              </a:rPr>
              <a:t>Error Functions</a:t>
            </a:r>
            <a:br>
              <a:rPr dirty="0"/>
            </a:br>
            <a:r>
              <a:rPr lang="en-US" sz="1800" b="0" strike="noStrike" spc="-1" dirty="0">
                <a:solidFill>
                  <a:srgbClr val="AB3348"/>
                </a:solidFill>
                <a:latin typeface="Times New Roman"/>
                <a:ea typeface="DejaVu Sans"/>
              </a:rPr>
              <a:t>Regression</a:t>
            </a:r>
            <a:endParaRPr lang="en-US" sz="1800" b="0" strike="noStrike" spc="-1" dirty="0">
              <a:latin typeface="Arial"/>
            </a:endParaRPr>
          </a:p>
        </p:txBody>
      </p:sp>
      <p:pic>
        <p:nvPicPr>
          <p:cNvPr id="6" name="Picture 45">
            <a:extLst>
              <a:ext uri="{FF2B5EF4-FFF2-40B4-BE49-F238E27FC236}">
                <a16:creationId xmlns:a16="http://schemas.microsoft.com/office/drawing/2014/main" id="{F0180F23-6AA3-18D8-CE3B-187A5FFCDD15}"/>
              </a:ext>
            </a:extLst>
          </p:cNvPr>
          <p:cNvPicPr/>
          <p:nvPr/>
        </p:nvPicPr>
        <p:blipFill>
          <a:blip r:embed="rId4"/>
          <a:stretch/>
        </p:blipFill>
        <p:spPr>
          <a:xfrm>
            <a:off x="7824508" y="602007"/>
            <a:ext cx="2184840" cy="236160"/>
          </a:xfrm>
          <a:prstGeom prst="rect">
            <a:avLst/>
          </a:prstGeom>
          <a:ln>
            <a:noFill/>
          </a:ln>
        </p:spPr>
      </p:pic>
      <p:pic>
        <p:nvPicPr>
          <p:cNvPr id="7" name="Picture 47">
            <a:extLst>
              <a:ext uri="{FF2B5EF4-FFF2-40B4-BE49-F238E27FC236}">
                <a16:creationId xmlns:a16="http://schemas.microsoft.com/office/drawing/2014/main" id="{9A925025-B9CC-F217-9D98-BA27067D6AB2}"/>
              </a:ext>
            </a:extLst>
          </p:cNvPr>
          <p:cNvPicPr/>
          <p:nvPr/>
        </p:nvPicPr>
        <p:blipFill>
          <a:blip r:embed="rId5"/>
          <a:stretch/>
        </p:blipFill>
        <p:spPr>
          <a:xfrm>
            <a:off x="8067868" y="1013487"/>
            <a:ext cx="761760" cy="207360"/>
          </a:xfrm>
          <a:prstGeom prst="rect">
            <a:avLst/>
          </a:prstGeom>
          <a:ln>
            <a:noFill/>
          </a:ln>
        </p:spPr>
      </p:pic>
      <p:sp>
        <p:nvSpPr>
          <p:cNvPr id="8" name="CustomShape 2">
            <a:extLst>
              <a:ext uri="{FF2B5EF4-FFF2-40B4-BE49-F238E27FC236}">
                <a16:creationId xmlns:a16="http://schemas.microsoft.com/office/drawing/2014/main" id="{FDC013F6-6715-B9D7-BAD9-919F5DEE013E}"/>
              </a:ext>
            </a:extLst>
          </p:cNvPr>
          <p:cNvSpPr/>
          <p:nvPr/>
        </p:nvSpPr>
        <p:spPr>
          <a:xfrm>
            <a:off x="1672828" y="2152527"/>
            <a:ext cx="1712160" cy="36396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>
            <a:spAutoFit/>
          </a:bodyPr>
          <a:lstStyle/>
          <a:p>
            <a:pPr>
              <a:lnSpc>
                <a:spcPct val="100000"/>
              </a:lnSpc>
            </a:pPr>
            <a:r>
              <a:rPr lang="en-US" sz="1800" b="1" strike="noStrike" spc="-1">
                <a:solidFill>
                  <a:srgbClr val="AB3348"/>
                </a:solidFill>
                <a:latin typeface="Times New Roman"/>
                <a:ea typeface="DejaVu Sans"/>
              </a:rPr>
              <a:t>Sum of Squares</a:t>
            </a:r>
            <a:endParaRPr lang="en-US" sz="1800" b="0" strike="noStrike" spc="-1">
              <a:latin typeface="Arial"/>
            </a:endParaRPr>
          </a:p>
        </p:txBody>
      </p:sp>
      <p:pic>
        <p:nvPicPr>
          <p:cNvPr id="9" name="Picture 14">
            <a:extLst>
              <a:ext uri="{FF2B5EF4-FFF2-40B4-BE49-F238E27FC236}">
                <a16:creationId xmlns:a16="http://schemas.microsoft.com/office/drawing/2014/main" id="{C0C8758D-1F49-4173-FB94-83C6286945B6}"/>
              </a:ext>
            </a:extLst>
          </p:cNvPr>
          <p:cNvPicPr/>
          <p:nvPr/>
        </p:nvPicPr>
        <p:blipFill>
          <a:blip r:embed="rId6"/>
          <a:stretch/>
        </p:blipFill>
        <p:spPr>
          <a:xfrm>
            <a:off x="4711588" y="2623407"/>
            <a:ext cx="2913480" cy="653400"/>
          </a:xfrm>
          <a:prstGeom prst="rect">
            <a:avLst/>
          </a:prstGeom>
          <a:ln>
            <a:noFill/>
          </a:ln>
        </p:spPr>
      </p:pic>
      <p:pic>
        <p:nvPicPr>
          <p:cNvPr id="10" name="Picture 16">
            <a:extLst>
              <a:ext uri="{FF2B5EF4-FFF2-40B4-BE49-F238E27FC236}">
                <a16:creationId xmlns:a16="http://schemas.microsoft.com/office/drawing/2014/main" id="{04B15E79-478D-BA0B-331C-048FA0193D46}"/>
              </a:ext>
            </a:extLst>
          </p:cNvPr>
          <p:cNvPicPr/>
          <p:nvPr/>
        </p:nvPicPr>
        <p:blipFill>
          <a:blip r:embed="rId7"/>
          <a:stretch/>
        </p:blipFill>
        <p:spPr>
          <a:xfrm>
            <a:off x="3151708" y="3524127"/>
            <a:ext cx="6033960" cy="699120"/>
          </a:xfrm>
          <a:prstGeom prst="rect">
            <a:avLst/>
          </a:prstGeom>
          <a:ln>
            <a:noFill/>
          </a:ln>
        </p:spPr>
      </p:pic>
      <p:pic>
        <p:nvPicPr>
          <p:cNvPr id="11" name="Picture 18">
            <a:extLst>
              <a:ext uri="{FF2B5EF4-FFF2-40B4-BE49-F238E27FC236}">
                <a16:creationId xmlns:a16="http://schemas.microsoft.com/office/drawing/2014/main" id="{E67D372C-9488-F9E0-C6D3-9860DC4432F4}"/>
              </a:ext>
            </a:extLst>
          </p:cNvPr>
          <p:cNvPicPr/>
          <p:nvPr/>
        </p:nvPicPr>
        <p:blipFill>
          <a:blip r:embed="rId8"/>
          <a:stretch/>
        </p:blipFill>
        <p:spPr>
          <a:xfrm>
            <a:off x="9105388" y="959127"/>
            <a:ext cx="813240" cy="261720"/>
          </a:xfrm>
          <a:prstGeom prst="rect">
            <a:avLst/>
          </a:prstGeom>
          <a:ln>
            <a:noFill/>
          </a:ln>
        </p:spPr>
      </p:pic>
      <p:sp>
        <p:nvSpPr>
          <p:cNvPr id="12" name="CustomShape 3">
            <a:extLst>
              <a:ext uri="{FF2B5EF4-FFF2-40B4-BE49-F238E27FC236}">
                <a16:creationId xmlns:a16="http://schemas.microsoft.com/office/drawing/2014/main" id="{E7C4D4FF-49F4-D07C-4F13-CF6B222610AD}"/>
              </a:ext>
            </a:extLst>
          </p:cNvPr>
          <p:cNvSpPr/>
          <p:nvPr/>
        </p:nvSpPr>
        <p:spPr>
          <a:xfrm>
            <a:off x="1896028" y="2763447"/>
            <a:ext cx="756360" cy="372960"/>
          </a:xfrm>
          <a:prstGeom prst="rect">
            <a:avLst/>
          </a:prstGeom>
          <a:ln>
            <a:rou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/>
        </p:style>
        <p:txBody>
          <a:bodyPr lIns="90000" tIns="45000" rIns="90000" bIns="45000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sz="1600" b="0" i="1" strike="noStrike" spc="-1">
                <a:solidFill>
                  <a:srgbClr val="000000"/>
                </a:solidFill>
                <a:latin typeface="Times New Roman"/>
                <a:ea typeface="DejaVu Sans"/>
              </a:rPr>
              <a:t>K </a:t>
            </a:r>
            <a:r>
              <a:rPr lang="en-US" sz="1600" b="0" strike="noStrike" spc="-1">
                <a:solidFill>
                  <a:srgbClr val="000000"/>
                </a:solidFill>
                <a:latin typeface="Times New Roman"/>
                <a:ea typeface="DejaVu Sans"/>
              </a:rPr>
              <a:t>= 1</a:t>
            </a:r>
            <a:endParaRPr lang="en-US" sz="1600" b="0" strike="noStrike" spc="-1">
              <a:latin typeface="Arial"/>
            </a:endParaRPr>
          </a:p>
        </p:txBody>
      </p:sp>
      <p:sp>
        <p:nvSpPr>
          <p:cNvPr id="13" name="CustomShape 4">
            <a:extLst>
              <a:ext uri="{FF2B5EF4-FFF2-40B4-BE49-F238E27FC236}">
                <a16:creationId xmlns:a16="http://schemas.microsoft.com/office/drawing/2014/main" id="{58371F90-1714-64CD-6422-2E725F82CA2C}"/>
              </a:ext>
            </a:extLst>
          </p:cNvPr>
          <p:cNvSpPr/>
          <p:nvPr/>
        </p:nvSpPr>
        <p:spPr>
          <a:xfrm>
            <a:off x="1896028" y="3686847"/>
            <a:ext cx="756360" cy="372960"/>
          </a:xfrm>
          <a:prstGeom prst="rect">
            <a:avLst/>
          </a:prstGeom>
          <a:ln>
            <a:rou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/>
        </p:style>
        <p:txBody>
          <a:bodyPr lIns="90000" tIns="45000" rIns="90000" bIns="45000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sz="1600" b="0" i="1" strike="noStrike" spc="-1">
                <a:solidFill>
                  <a:srgbClr val="000000"/>
                </a:solidFill>
                <a:latin typeface="Times New Roman"/>
                <a:ea typeface="DejaVu Sans"/>
              </a:rPr>
              <a:t>K &gt; </a:t>
            </a:r>
            <a:r>
              <a:rPr lang="en-US" sz="1600" b="0" strike="noStrike" spc="-1">
                <a:solidFill>
                  <a:srgbClr val="000000"/>
                </a:solidFill>
                <a:latin typeface="Times New Roman"/>
                <a:ea typeface="DejaVu Sans"/>
              </a:rPr>
              <a:t>1</a:t>
            </a:r>
            <a:endParaRPr lang="en-US" sz="1600" b="0" strike="noStrike" spc="-1">
              <a:latin typeface="Arial"/>
            </a:endParaRPr>
          </a:p>
        </p:txBody>
      </p:sp>
      <p:pic>
        <p:nvPicPr>
          <p:cNvPr id="14" name="Picture 2">
            <a:extLst>
              <a:ext uri="{FF2B5EF4-FFF2-40B4-BE49-F238E27FC236}">
                <a16:creationId xmlns:a16="http://schemas.microsoft.com/office/drawing/2014/main" id="{01560FD3-0BB0-CC7F-FC41-F0BEA4EAA721}"/>
              </a:ext>
            </a:extLst>
          </p:cNvPr>
          <p:cNvPicPr/>
          <p:nvPr/>
        </p:nvPicPr>
        <p:blipFill>
          <a:blip r:embed="rId9"/>
          <a:stretch/>
        </p:blipFill>
        <p:spPr>
          <a:xfrm>
            <a:off x="2564908" y="4993287"/>
            <a:ext cx="1647720" cy="236160"/>
          </a:xfrm>
          <a:prstGeom prst="rect">
            <a:avLst/>
          </a:prstGeom>
          <a:ln>
            <a:noFill/>
          </a:ln>
        </p:spPr>
      </p:pic>
      <p:sp>
        <p:nvSpPr>
          <p:cNvPr id="15" name="CustomShape 5">
            <a:extLst>
              <a:ext uri="{FF2B5EF4-FFF2-40B4-BE49-F238E27FC236}">
                <a16:creationId xmlns:a16="http://schemas.microsoft.com/office/drawing/2014/main" id="{29263627-E1B7-4821-9C21-573C26C324E5}"/>
              </a:ext>
            </a:extLst>
          </p:cNvPr>
          <p:cNvSpPr/>
          <p:nvPr/>
        </p:nvSpPr>
        <p:spPr>
          <a:xfrm>
            <a:off x="4640175" y="5474899"/>
            <a:ext cx="2691720" cy="906840"/>
          </a:xfrm>
          <a:prstGeom prst="rect">
            <a:avLst/>
          </a:prstGeom>
          <a:noFill/>
          <a:ln>
            <a:solidFill>
              <a:srgbClr val="AB3348"/>
            </a:solidFill>
            <a:round/>
          </a:ln>
          <a:effectLst>
            <a:outerShdw blurRad="40000" dist="2304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/>
        </p:style>
      </p:sp>
      <p:pic>
        <p:nvPicPr>
          <p:cNvPr id="19" name="Picture 6">
            <a:extLst>
              <a:ext uri="{FF2B5EF4-FFF2-40B4-BE49-F238E27FC236}">
                <a16:creationId xmlns:a16="http://schemas.microsoft.com/office/drawing/2014/main" id="{802E0736-B7AB-FF34-71FD-D1782D7BA2B5}"/>
              </a:ext>
            </a:extLst>
          </p:cNvPr>
          <p:cNvPicPr/>
          <p:nvPr/>
        </p:nvPicPr>
        <p:blipFill>
          <a:blip r:embed="rId10"/>
          <a:stretch/>
        </p:blipFill>
        <p:spPr>
          <a:xfrm>
            <a:off x="8250748" y="1468167"/>
            <a:ext cx="1770480" cy="653400"/>
          </a:xfrm>
          <a:prstGeom prst="rect">
            <a:avLst/>
          </a:prstGeom>
          <a:ln>
            <a:noFill/>
          </a:ln>
        </p:spPr>
      </p:pic>
      <p:sp>
        <p:nvSpPr>
          <p:cNvPr id="20" name="CustomShape 6">
            <a:extLst>
              <a:ext uri="{FF2B5EF4-FFF2-40B4-BE49-F238E27FC236}">
                <a16:creationId xmlns:a16="http://schemas.microsoft.com/office/drawing/2014/main" id="{19873518-2BE2-F813-E2A6-B319F09A756E}"/>
              </a:ext>
            </a:extLst>
          </p:cNvPr>
          <p:cNvSpPr/>
          <p:nvPr/>
        </p:nvSpPr>
        <p:spPr>
          <a:xfrm>
            <a:off x="8156788" y="1385007"/>
            <a:ext cx="1958760" cy="819000"/>
          </a:xfrm>
          <a:prstGeom prst="rect">
            <a:avLst/>
          </a:prstGeom>
          <a:noFill/>
          <a:ln>
            <a:solidFill>
              <a:srgbClr val="AB3348"/>
            </a:solidFill>
            <a:round/>
          </a:ln>
          <a:effectLst>
            <a:outerShdw blurRad="40000" dist="2304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/>
        </p:style>
      </p:sp>
      <p:pic>
        <p:nvPicPr>
          <p:cNvPr id="21" name="Picture 9">
            <a:extLst>
              <a:ext uri="{FF2B5EF4-FFF2-40B4-BE49-F238E27FC236}">
                <a16:creationId xmlns:a16="http://schemas.microsoft.com/office/drawing/2014/main" id="{FB3B6A82-D7CD-182A-D68E-1E2981483437}"/>
              </a:ext>
            </a:extLst>
          </p:cNvPr>
          <p:cNvPicPr/>
          <p:nvPr/>
        </p:nvPicPr>
        <p:blipFill>
          <a:blip r:embed="rId11"/>
          <a:stretch/>
        </p:blipFill>
        <p:spPr>
          <a:xfrm>
            <a:off x="4892175" y="5661739"/>
            <a:ext cx="2187720" cy="533160"/>
          </a:xfrm>
          <a:prstGeom prst="rect">
            <a:avLst/>
          </a:prstGeom>
          <a:ln>
            <a:noFill/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664926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12" grpId="0" animBg="1"/>
      <p:bldP spid="13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E6EF2DD4-1428-4F29-BED0-012580DEB727}"/>
              </a:ext>
            </a:extLst>
          </p:cNvPr>
          <p:cNvGrpSpPr/>
          <p:nvPr/>
        </p:nvGrpSpPr>
        <p:grpSpPr>
          <a:xfrm>
            <a:off x="1" y="6496048"/>
            <a:ext cx="12192000" cy="381103"/>
            <a:chOff x="-1" y="6496048"/>
            <a:chExt cx="12192001" cy="361952"/>
          </a:xfrm>
        </p:grpSpPr>
        <p:sp>
          <p:nvSpPr>
            <p:cNvPr id="17" name="Dikdörtgen 10">
              <a:extLst>
                <a:ext uri="{FF2B5EF4-FFF2-40B4-BE49-F238E27FC236}">
                  <a16:creationId xmlns:a16="http://schemas.microsoft.com/office/drawing/2014/main" id="{C14596DF-271A-400A-B0AE-693FCDF2F217}"/>
                </a:ext>
              </a:extLst>
            </p:cNvPr>
            <p:cNvSpPr/>
            <p:nvPr/>
          </p:nvSpPr>
          <p:spPr>
            <a:xfrm>
              <a:off x="10115547" y="6496049"/>
              <a:ext cx="2076453" cy="361951"/>
            </a:xfrm>
            <a:prstGeom prst="rect">
              <a:avLst/>
            </a:prstGeom>
            <a:solidFill>
              <a:srgbClr val="2198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dirty="0"/>
                <a:t>   Özgür Martin</a:t>
              </a:r>
            </a:p>
          </p:txBody>
        </p:sp>
        <p:sp>
          <p:nvSpPr>
            <p:cNvPr id="18" name="Dikdörtgen 10">
              <a:extLst>
                <a:ext uri="{FF2B5EF4-FFF2-40B4-BE49-F238E27FC236}">
                  <a16:creationId xmlns:a16="http://schemas.microsoft.com/office/drawing/2014/main" id="{84A5B1F6-64B9-4792-8088-33FD44F5342F}"/>
                </a:ext>
              </a:extLst>
            </p:cNvPr>
            <p:cNvSpPr/>
            <p:nvPr/>
          </p:nvSpPr>
          <p:spPr>
            <a:xfrm>
              <a:off x="-1" y="6496048"/>
              <a:ext cx="10151743" cy="361952"/>
            </a:xfrm>
            <a:prstGeom prst="rect">
              <a:avLst/>
            </a:prstGeom>
            <a:solidFill>
              <a:srgbClr val="2198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altLang="ko-KR" dirty="0" err="1">
                  <a:solidFill>
                    <a:schemeClr val="bg1"/>
                  </a:solidFill>
                  <a:cs typeface="Arial" pitchFamily="34" charset="0"/>
                </a:rPr>
                <a:t>Neural</a:t>
              </a:r>
              <a:r>
                <a:rPr lang="tr-TR" altLang="ko-KR" dirty="0">
                  <a:solidFill>
                    <a:schemeClr val="bg1"/>
                  </a:solidFill>
                  <a:cs typeface="Arial" pitchFamily="34" charset="0"/>
                </a:rPr>
                <a:t> Networks</a:t>
              </a:r>
            </a:p>
          </p:txBody>
        </p:sp>
      </p:grpSp>
      <p:sp>
        <p:nvSpPr>
          <p:cNvPr id="5" name="CustomShape 1">
            <a:extLst>
              <a:ext uri="{FF2B5EF4-FFF2-40B4-BE49-F238E27FC236}">
                <a16:creationId xmlns:a16="http://schemas.microsoft.com/office/drawing/2014/main" id="{19624462-009E-809C-1580-17F60A62D205}"/>
              </a:ext>
            </a:extLst>
          </p:cNvPr>
          <p:cNvSpPr/>
          <p:nvPr/>
        </p:nvSpPr>
        <p:spPr>
          <a:xfrm>
            <a:off x="465826" y="298296"/>
            <a:ext cx="8170920" cy="106488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>
            <a:noAutofit/>
          </a:bodyPr>
          <a:lstStyle/>
          <a:p>
            <a:pPr>
              <a:lnSpc>
                <a:spcPts val="3200"/>
              </a:lnSpc>
            </a:pPr>
            <a:r>
              <a:rPr lang="en-US" sz="2800" b="0" strike="noStrike" spc="-1" dirty="0">
                <a:solidFill>
                  <a:srgbClr val="AB3348"/>
                </a:solidFill>
                <a:latin typeface="Times New Roman"/>
                <a:ea typeface="DejaVu Sans"/>
              </a:rPr>
              <a:t>Network Training</a:t>
            </a:r>
            <a:br>
              <a:rPr dirty="0"/>
            </a:br>
            <a:r>
              <a:rPr lang="en-US" sz="2000" b="0" strike="noStrike" spc="-1" dirty="0">
                <a:solidFill>
                  <a:srgbClr val="AB3348"/>
                </a:solidFill>
                <a:latin typeface="Times New Roman"/>
                <a:ea typeface="DejaVu Sans"/>
              </a:rPr>
              <a:t>Error Functions</a:t>
            </a:r>
            <a:br>
              <a:rPr dirty="0"/>
            </a:br>
            <a:r>
              <a:rPr lang="en-US" sz="1800" b="0" i="1" strike="noStrike" spc="-1" dirty="0">
                <a:solidFill>
                  <a:srgbClr val="AB3348"/>
                </a:solidFill>
                <a:latin typeface="Times New Roman"/>
                <a:ea typeface="DejaVu Sans"/>
              </a:rPr>
              <a:t>K-</a:t>
            </a:r>
            <a:r>
              <a:rPr lang="en-US" sz="1800" b="0" strike="noStrike" spc="-1" dirty="0">
                <a:solidFill>
                  <a:srgbClr val="AB3348"/>
                </a:solidFill>
                <a:latin typeface="Times New Roman"/>
                <a:ea typeface="DejaVu Sans"/>
              </a:rPr>
              <a:t>Separate Binary Classification</a:t>
            </a:r>
            <a:endParaRPr lang="en-US" sz="1800" b="0" strike="noStrike" spc="-1" dirty="0">
              <a:latin typeface="Arial"/>
            </a:endParaRPr>
          </a:p>
        </p:txBody>
      </p:sp>
      <p:pic>
        <p:nvPicPr>
          <p:cNvPr id="6" name="Picture 45">
            <a:extLst>
              <a:ext uri="{FF2B5EF4-FFF2-40B4-BE49-F238E27FC236}">
                <a16:creationId xmlns:a16="http://schemas.microsoft.com/office/drawing/2014/main" id="{27742C6A-133D-9718-4C17-F819729813FA}"/>
              </a:ext>
            </a:extLst>
          </p:cNvPr>
          <p:cNvPicPr/>
          <p:nvPr/>
        </p:nvPicPr>
        <p:blipFill>
          <a:blip r:embed="rId4"/>
          <a:stretch/>
        </p:blipFill>
        <p:spPr>
          <a:xfrm>
            <a:off x="8087340" y="566496"/>
            <a:ext cx="2184840" cy="236160"/>
          </a:xfrm>
          <a:prstGeom prst="rect">
            <a:avLst/>
          </a:prstGeom>
          <a:ln>
            <a:noFill/>
          </a:ln>
        </p:spPr>
      </p:pic>
      <p:pic>
        <p:nvPicPr>
          <p:cNvPr id="7" name="Picture 47">
            <a:extLst>
              <a:ext uri="{FF2B5EF4-FFF2-40B4-BE49-F238E27FC236}">
                <a16:creationId xmlns:a16="http://schemas.microsoft.com/office/drawing/2014/main" id="{91EACCF5-38F2-DB52-D50B-A0906F6D8775}"/>
              </a:ext>
            </a:extLst>
          </p:cNvPr>
          <p:cNvPicPr/>
          <p:nvPr/>
        </p:nvPicPr>
        <p:blipFill>
          <a:blip r:embed="rId5"/>
          <a:stretch/>
        </p:blipFill>
        <p:spPr>
          <a:xfrm>
            <a:off x="8156820" y="977976"/>
            <a:ext cx="761760" cy="207360"/>
          </a:xfrm>
          <a:prstGeom prst="rect">
            <a:avLst/>
          </a:prstGeom>
          <a:ln>
            <a:noFill/>
          </a:ln>
        </p:spPr>
      </p:pic>
      <p:pic>
        <p:nvPicPr>
          <p:cNvPr id="8" name="Picture 8">
            <a:extLst>
              <a:ext uri="{FF2B5EF4-FFF2-40B4-BE49-F238E27FC236}">
                <a16:creationId xmlns:a16="http://schemas.microsoft.com/office/drawing/2014/main" id="{7AE323C8-8E5A-8614-BEFA-5E209CFA50EE}"/>
              </a:ext>
            </a:extLst>
          </p:cNvPr>
          <p:cNvPicPr/>
          <p:nvPr/>
        </p:nvPicPr>
        <p:blipFill>
          <a:blip r:embed="rId6"/>
          <a:stretch/>
        </p:blipFill>
        <p:spPr>
          <a:xfrm>
            <a:off x="3394740" y="3531096"/>
            <a:ext cx="6505560" cy="699120"/>
          </a:xfrm>
          <a:prstGeom prst="rect">
            <a:avLst/>
          </a:prstGeom>
          <a:ln>
            <a:noFill/>
          </a:ln>
        </p:spPr>
      </p:pic>
      <p:sp>
        <p:nvSpPr>
          <p:cNvPr id="9" name="CustomShape 2">
            <a:extLst>
              <a:ext uri="{FF2B5EF4-FFF2-40B4-BE49-F238E27FC236}">
                <a16:creationId xmlns:a16="http://schemas.microsoft.com/office/drawing/2014/main" id="{1663F69C-4054-B239-8C12-E37CAD7E2EED}"/>
              </a:ext>
            </a:extLst>
          </p:cNvPr>
          <p:cNvSpPr/>
          <p:nvPr/>
        </p:nvSpPr>
        <p:spPr>
          <a:xfrm>
            <a:off x="1935660" y="2120976"/>
            <a:ext cx="1599120" cy="36396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>
            <a:spAutoFit/>
          </a:bodyPr>
          <a:lstStyle/>
          <a:p>
            <a:pPr>
              <a:lnSpc>
                <a:spcPct val="100000"/>
              </a:lnSpc>
            </a:pPr>
            <a:r>
              <a:rPr lang="en-US" sz="1800" b="1" strike="noStrike" spc="-1">
                <a:solidFill>
                  <a:srgbClr val="AB3348"/>
                </a:solidFill>
                <a:latin typeface="Times New Roman"/>
                <a:ea typeface="DejaVu Sans"/>
              </a:rPr>
              <a:t>Cross Entropy</a:t>
            </a:r>
            <a:endParaRPr lang="en-US" sz="1800" b="0" strike="noStrike" spc="-1">
              <a:latin typeface="Arial"/>
            </a:endParaRPr>
          </a:p>
        </p:txBody>
      </p:sp>
      <p:pic>
        <p:nvPicPr>
          <p:cNvPr id="10" name="Picture 11">
            <a:extLst>
              <a:ext uri="{FF2B5EF4-FFF2-40B4-BE49-F238E27FC236}">
                <a16:creationId xmlns:a16="http://schemas.microsoft.com/office/drawing/2014/main" id="{E58F169A-59E9-DDDC-7482-A27C4CB7D2C7}"/>
              </a:ext>
            </a:extLst>
          </p:cNvPr>
          <p:cNvPicPr/>
          <p:nvPr/>
        </p:nvPicPr>
        <p:blipFill>
          <a:blip r:embed="rId7"/>
          <a:stretch/>
        </p:blipFill>
        <p:spPr>
          <a:xfrm>
            <a:off x="3800460" y="2619216"/>
            <a:ext cx="5693760" cy="653400"/>
          </a:xfrm>
          <a:prstGeom prst="rect">
            <a:avLst/>
          </a:prstGeom>
          <a:ln>
            <a:noFill/>
          </a:ln>
        </p:spPr>
      </p:pic>
      <p:sp>
        <p:nvSpPr>
          <p:cNvPr id="11" name="CustomShape 3">
            <a:extLst>
              <a:ext uri="{FF2B5EF4-FFF2-40B4-BE49-F238E27FC236}">
                <a16:creationId xmlns:a16="http://schemas.microsoft.com/office/drawing/2014/main" id="{29965491-8018-1EAB-CABB-EF842C130BB1}"/>
              </a:ext>
            </a:extLst>
          </p:cNvPr>
          <p:cNvSpPr/>
          <p:nvPr/>
        </p:nvSpPr>
        <p:spPr>
          <a:xfrm>
            <a:off x="2158860" y="2759256"/>
            <a:ext cx="756360" cy="372960"/>
          </a:xfrm>
          <a:prstGeom prst="rect">
            <a:avLst/>
          </a:prstGeom>
          <a:ln>
            <a:rou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/>
        </p:style>
        <p:txBody>
          <a:bodyPr lIns="90000" tIns="45000" rIns="90000" bIns="45000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sz="1600" b="0" i="1" strike="noStrike" spc="-1">
                <a:solidFill>
                  <a:srgbClr val="000000"/>
                </a:solidFill>
                <a:latin typeface="Times New Roman"/>
                <a:ea typeface="DejaVu Sans"/>
              </a:rPr>
              <a:t>K </a:t>
            </a:r>
            <a:r>
              <a:rPr lang="en-US" sz="1600" b="0" strike="noStrike" spc="-1">
                <a:solidFill>
                  <a:srgbClr val="000000"/>
                </a:solidFill>
                <a:latin typeface="Times New Roman"/>
                <a:ea typeface="DejaVu Sans"/>
              </a:rPr>
              <a:t>= 1</a:t>
            </a:r>
            <a:endParaRPr lang="en-US" sz="1600" b="0" strike="noStrike" spc="-1">
              <a:latin typeface="Arial"/>
            </a:endParaRPr>
          </a:p>
        </p:txBody>
      </p:sp>
      <p:sp>
        <p:nvSpPr>
          <p:cNvPr id="12" name="CustomShape 4">
            <a:extLst>
              <a:ext uri="{FF2B5EF4-FFF2-40B4-BE49-F238E27FC236}">
                <a16:creationId xmlns:a16="http://schemas.microsoft.com/office/drawing/2014/main" id="{4FD07837-341B-91C1-6DA3-96B73BF8C9D7}"/>
              </a:ext>
            </a:extLst>
          </p:cNvPr>
          <p:cNvSpPr/>
          <p:nvPr/>
        </p:nvSpPr>
        <p:spPr>
          <a:xfrm>
            <a:off x="2158860" y="3693816"/>
            <a:ext cx="756360" cy="372960"/>
          </a:xfrm>
          <a:prstGeom prst="rect">
            <a:avLst/>
          </a:prstGeom>
          <a:ln>
            <a:rou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/>
        </p:style>
        <p:txBody>
          <a:bodyPr lIns="90000" tIns="45000" rIns="90000" bIns="45000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sz="1600" b="0" i="1" strike="noStrike" spc="-1">
                <a:solidFill>
                  <a:srgbClr val="000000"/>
                </a:solidFill>
                <a:latin typeface="Times New Roman"/>
                <a:ea typeface="DejaVu Sans"/>
              </a:rPr>
              <a:t>K &gt; </a:t>
            </a:r>
            <a:r>
              <a:rPr lang="en-US" sz="1600" b="0" strike="noStrike" spc="-1">
                <a:solidFill>
                  <a:srgbClr val="000000"/>
                </a:solidFill>
                <a:latin typeface="Times New Roman"/>
                <a:ea typeface="DejaVu Sans"/>
              </a:rPr>
              <a:t>1</a:t>
            </a:r>
            <a:endParaRPr lang="en-US" sz="1600" b="0" strike="noStrike" spc="-1">
              <a:latin typeface="Arial"/>
            </a:endParaRPr>
          </a:p>
        </p:txBody>
      </p:sp>
      <p:pic>
        <p:nvPicPr>
          <p:cNvPr id="13" name="Picture 27">
            <a:extLst>
              <a:ext uri="{FF2B5EF4-FFF2-40B4-BE49-F238E27FC236}">
                <a16:creationId xmlns:a16="http://schemas.microsoft.com/office/drawing/2014/main" id="{25ADAB87-3C58-18C5-11B9-E9A3366C0982}"/>
              </a:ext>
            </a:extLst>
          </p:cNvPr>
          <p:cNvPicPr/>
          <p:nvPr/>
        </p:nvPicPr>
        <p:blipFill>
          <a:blip r:embed="rId8"/>
          <a:stretch/>
        </p:blipFill>
        <p:spPr>
          <a:xfrm>
            <a:off x="9164460" y="912456"/>
            <a:ext cx="1224720" cy="273240"/>
          </a:xfrm>
          <a:prstGeom prst="rect">
            <a:avLst/>
          </a:prstGeom>
          <a:ln>
            <a:noFill/>
          </a:ln>
        </p:spPr>
      </p:pic>
      <p:pic>
        <p:nvPicPr>
          <p:cNvPr id="14" name="Picture 76">
            <a:extLst>
              <a:ext uri="{FF2B5EF4-FFF2-40B4-BE49-F238E27FC236}">
                <a16:creationId xmlns:a16="http://schemas.microsoft.com/office/drawing/2014/main" id="{C9E20C33-A58C-DDE7-57EB-2F272D65A4AA}"/>
              </a:ext>
            </a:extLst>
          </p:cNvPr>
          <p:cNvPicPr/>
          <p:nvPr/>
        </p:nvPicPr>
        <p:blipFill>
          <a:blip r:embed="rId9"/>
          <a:stretch/>
        </p:blipFill>
        <p:spPr>
          <a:xfrm>
            <a:off x="8513580" y="1432656"/>
            <a:ext cx="1770480" cy="653400"/>
          </a:xfrm>
          <a:prstGeom prst="rect">
            <a:avLst/>
          </a:prstGeom>
          <a:ln>
            <a:noFill/>
          </a:ln>
        </p:spPr>
      </p:pic>
      <p:sp>
        <p:nvSpPr>
          <p:cNvPr id="15" name="CustomShape 5">
            <a:extLst>
              <a:ext uri="{FF2B5EF4-FFF2-40B4-BE49-F238E27FC236}">
                <a16:creationId xmlns:a16="http://schemas.microsoft.com/office/drawing/2014/main" id="{3E3F1D31-2E56-0363-0F7C-6D10C0432C7B}"/>
              </a:ext>
            </a:extLst>
          </p:cNvPr>
          <p:cNvSpPr/>
          <p:nvPr/>
        </p:nvSpPr>
        <p:spPr>
          <a:xfrm>
            <a:off x="8419620" y="1349496"/>
            <a:ext cx="1958760" cy="819000"/>
          </a:xfrm>
          <a:prstGeom prst="rect">
            <a:avLst/>
          </a:prstGeom>
          <a:noFill/>
          <a:ln>
            <a:solidFill>
              <a:srgbClr val="AB3348"/>
            </a:solidFill>
            <a:round/>
          </a:ln>
          <a:effectLst>
            <a:outerShdw blurRad="40000" dist="2304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/>
        </p:style>
      </p:sp>
      <p:sp>
        <p:nvSpPr>
          <p:cNvPr id="19" name="CustomShape 6">
            <a:extLst>
              <a:ext uri="{FF2B5EF4-FFF2-40B4-BE49-F238E27FC236}">
                <a16:creationId xmlns:a16="http://schemas.microsoft.com/office/drawing/2014/main" id="{4A2A8A0B-ED57-3032-38C0-6C5ADA77E11A}"/>
              </a:ext>
            </a:extLst>
          </p:cNvPr>
          <p:cNvSpPr/>
          <p:nvPr/>
        </p:nvSpPr>
        <p:spPr>
          <a:xfrm>
            <a:off x="5051500" y="5438556"/>
            <a:ext cx="2691720" cy="906840"/>
          </a:xfrm>
          <a:prstGeom prst="rect">
            <a:avLst/>
          </a:prstGeom>
          <a:noFill/>
          <a:ln>
            <a:solidFill>
              <a:srgbClr val="AB3348"/>
            </a:solidFill>
            <a:round/>
          </a:ln>
          <a:effectLst>
            <a:outerShdw blurRad="40000" dist="2304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/>
        </p:style>
      </p:sp>
      <p:pic>
        <p:nvPicPr>
          <p:cNvPr id="20" name="Picture 81">
            <a:extLst>
              <a:ext uri="{FF2B5EF4-FFF2-40B4-BE49-F238E27FC236}">
                <a16:creationId xmlns:a16="http://schemas.microsoft.com/office/drawing/2014/main" id="{43113513-685F-B48A-0CF0-B2E98E5CC72F}"/>
              </a:ext>
            </a:extLst>
          </p:cNvPr>
          <p:cNvPicPr/>
          <p:nvPr/>
        </p:nvPicPr>
        <p:blipFill>
          <a:blip r:embed="rId10"/>
          <a:stretch/>
        </p:blipFill>
        <p:spPr>
          <a:xfrm>
            <a:off x="5303500" y="5625396"/>
            <a:ext cx="2187720" cy="533160"/>
          </a:xfrm>
          <a:prstGeom prst="rect">
            <a:avLst/>
          </a:prstGeom>
          <a:ln>
            <a:noFill/>
          </a:ln>
        </p:spPr>
      </p:pic>
      <p:pic>
        <p:nvPicPr>
          <p:cNvPr id="21" name="Picture 83">
            <a:extLst>
              <a:ext uri="{FF2B5EF4-FFF2-40B4-BE49-F238E27FC236}">
                <a16:creationId xmlns:a16="http://schemas.microsoft.com/office/drawing/2014/main" id="{F034E8E1-0212-2527-B7C3-E8B0517CE9B2}"/>
              </a:ext>
            </a:extLst>
          </p:cNvPr>
          <p:cNvPicPr/>
          <p:nvPr/>
        </p:nvPicPr>
        <p:blipFill>
          <a:blip r:embed="rId11"/>
          <a:stretch/>
        </p:blipFill>
        <p:spPr>
          <a:xfrm>
            <a:off x="2827740" y="4729896"/>
            <a:ext cx="2347920" cy="498960"/>
          </a:xfrm>
          <a:prstGeom prst="rect">
            <a:avLst/>
          </a:prstGeom>
          <a:ln>
            <a:noFill/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4779284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1" grpId="0" animBg="1"/>
      <p:bldP spid="12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Presentation"/>
  <p:tag name="BCG_DESIGN" val="Title only"/>
  <p:tag name="EE4P_LAYOUT_ID" val="K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Presentation"/>
  <p:tag name="BCG_DESIGN" val="Title only"/>
  <p:tag name="EE4P_LAYOUT_ID" val="K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Presentation"/>
  <p:tag name="BCG_DESIGN" val="Title only"/>
  <p:tag name="EE4P_LAYOUT_ID" val="K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Presentation"/>
  <p:tag name="BCG_DESIGN" val="Title only"/>
  <p:tag name="EE4P_LAYOUT_ID" val="K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Presentation"/>
  <p:tag name="BCG_DESIGN" val="Title only"/>
  <p:tag name="EE4P_LAYOUT_ID" val="K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Presentation"/>
  <p:tag name="BCG_DESIGN" val="Title only"/>
  <p:tag name="EE4P_LAYOUT_ID" val="K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Presentation"/>
  <p:tag name="BCG_DESIGN" val="Title only"/>
  <p:tag name="EE4P_LAYOUT_ID" val="K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Presentation"/>
  <p:tag name="BCG_DESIGN" val="Title only"/>
  <p:tag name="EE4P_LAYOUT_ID" val="K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Presentation"/>
  <p:tag name="BCG_DESIGN" val="Title only"/>
  <p:tag name="EE4P_LAYOUT_ID" val="K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Presentation"/>
  <p:tag name="BCG_DESIGN" val="Title only"/>
  <p:tag name="EE4P_LAYOUT_ID" val="K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Presentation"/>
  <p:tag name="BCG_DESIGN" val="Title only"/>
  <p:tag name="EE4P_LAYOUT_ID" val="K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Presentation"/>
  <p:tag name="BCG_DESIGN" val="Title only"/>
  <p:tag name="EE4P_LAYOUT_ID" val="K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Presentation"/>
  <p:tag name="BCG_DESIGN" val="Title only"/>
  <p:tag name="EE4P_LAYOUT_ID" val="K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Presentation"/>
  <p:tag name="BCG_DESIGN" val="Title only"/>
  <p:tag name="EE4P_LAYOUT_ID" val="K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Presentation"/>
  <p:tag name="BCG_DESIGN" val="Title only"/>
  <p:tag name="EE4P_LAYOUT_ID" val="K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Presentation"/>
  <p:tag name="BCG_DESIGN" val="Title only"/>
  <p:tag name="EE4P_LAYOUT_ID" val="K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Presentation"/>
  <p:tag name="BCG_DESIGN" val="Title only"/>
  <p:tag name="EE4P_LAYOUT_ID" val="K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Presentation"/>
  <p:tag name="BCG_DESIGN" val="Title only"/>
  <p:tag name="EE4P_LAYOUT_ID" val="K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Presentation"/>
  <p:tag name="BCG_DESIGN" val="Title only"/>
  <p:tag name="EE4P_LAYOUT_ID" val="K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Presentation"/>
  <p:tag name="BCG_DESIGN" val="Title only"/>
  <p:tag name="EE4P_LAYOUT_ID" val="K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Presentation"/>
  <p:tag name="BCG_DESIGN" val="Title only"/>
  <p:tag name="EE4P_LAYOUT_ID" val="K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Presentation"/>
  <p:tag name="BCG_DESIGN" val="Title only"/>
  <p:tag name="EE4P_LAYOUT_ID" val="K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Presentation"/>
  <p:tag name="BCG_DESIGN" val="Title only"/>
  <p:tag name="EE4P_LAYOUT_ID" val="K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Presentation"/>
  <p:tag name="BCG_DESIGN" val="Title only"/>
  <p:tag name="EE4P_LAYOUT_ID" val="K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Presentation"/>
  <p:tag name="BCG_DESIGN" val="Title only"/>
  <p:tag name="EE4P_LAYOUT_ID" val="K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Presentation"/>
  <p:tag name="BCG_DESIGN" val="Title only"/>
  <p:tag name="EE4P_LAYOUT_ID" val="K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Presentation"/>
  <p:tag name="BCG_DESIGN" val="Title only"/>
  <p:tag name="EE4P_LAYOUT_ID" val="K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Presentation"/>
  <p:tag name="BCG_DESIGN" val="Title only"/>
  <p:tag name="EE4P_LAYOUT_ID" val="K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Presentation"/>
  <p:tag name="BCG_DESIGN" val="Title only"/>
  <p:tag name="EE4P_LAYOUT_ID" val="K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Presentation"/>
  <p:tag name="BCG_DESIGN" val="Title only"/>
  <p:tag name="EE4P_LAYOUT_ID" val="K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Presentation"/>
  <p:tag name="BCG_DESIGN" val="Title only"/>
  <p:tag name="EE4P_LAYOUT_ID" val="K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Presentation"/>
  <p:tag name="BCG_DESIGN" val="Title only"/>
  <p:tag name="EE4P_LAYOUT_ID" val="K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Presentation"/>
  <p:tag name="BCG_DESIGN" val="Title only"/>
  <p:tag name="EE4P_LAYOUT_ID" val="K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Presentation"/>
  <p:tag name="BCG_DESIGN" val="Title only"/>
  <p:tag name="EE4P_LAYOUT_ID" val="K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Presentation"/>
  <p:tag name="BCG_DESIGN" val="Title only"/>
  <p:tag name="EE4P_LAYOUT_ID" val="K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Presentation"/>
  <p:tag name="BCG_DESIGN" val="Title only"/>
  <p:tag name="EE4P_LAYOUT_ID" val="K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Presentation"/>
  <p:tag name="BCG_DESIGN" val="Title only"/>
  <p:tag name="EE4P_LAYOUT_ID" val="K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Presentation"/>
  <p:tag name="BCG_DESIGN" val="Title only"/>
  <p:tag name="EE4P_LAYOUT_ID" val="K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Presentation"/>
  <p:tag name="BCG_DESIGN" val="Title only"/>
  <p:tag name="EE4P_LAYOUT_ID" val="K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Presentation"/>
  <p:tag name="BCG_DESIGN" val="Title only"/>
  <p:tag name="EE4P_LAYOUT_ID" val="K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Presentation"/>
  <p:tag name="BCG_DESIGN" val="Title only"/>
  <p:tag name="EE4P_LAYOUT_ID" val="K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Presentation"/>
  <p:tag name="BCG_DESIGN" val="Title only"/>
  <p:tag name="EE4P_LAYOUT_ID" val="K"/>
</p:tagLst>
</file>

<file path=ppt/theme/theme1.xml><?xml version="1.0" encoding="utf-8"?>
<a:theme xmlns:a="http://schemas.openxmlformats.org/drawingml/2006/main" name="Cover and End Slide Master">
  <a:themeElements>
    <a:clrScheme name="Double-Exposure-Business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07C89"/>
      </a:accent1>
      <a:accent2>
        <a:srgbClr val="8CBABE"/>
      </a:accent2>
      <a:accent3>
        <a:srgbClr val="9CCCD2"/>
      </a:accent3>
      <a:accent4>
        <a:srgbClr val="507C89"/>
      </a:accent4>
      <a:accent5>
        <a:srgbClr val="8CBABE"/>
      </a:accent5>
      <a:accent6>
        <a:srgbClr val="9CCCD2"/>
      </a:accent6>
      <a:hlink>
        <a:srgbClr val="FFFFFF"/>
      </a:hlink>
      <a:folHlink>
        <a:srgbClr val="FFFFFF"/>
      </a:folHlink>
    </a:clrScheme>
    <a:fontScheme name="MAX-THEME FONT">
      <a:majorFont>
        <a:latin typeface="Arial"/>
        <a:ea typeface="Arial Unicode MS"/>
        <a:cs typeface=""/>
      </a:majorFont>
      <a:minorFont>
        <a:latin typeface="Arial"/>
        <a:ea typeface="Arial Unicode MS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ontents Slide Master">
  <a:themeElements>
    <a:clrScheme name="ALLPPT-BUSINESS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07C89"/>
      </a:accent1>
      <a:accent2>
        <a:srgbClr val="8CBABE"/>
      </a:accent2>
      <a:accent3>
        <a:srgbClr val="9CCCD2"/>
      </a:accent3>
      <a:accent4>
        <a:srgbClr val="507C89"/>
      </a:accent4>
      <a:accent5>
        <a:srgbClr val="8CBABE"/>
      </a:accent5>
      <a:accent6>
        <a:srgbClr val="9CCCD2"/>
      </a:accent6>
      <a:hlink>
        <a:srgbClr val="FFFFFF"/>
      </a:hlink>
      <a:folHlink>
        <a:srgbClr val="FFFFFF"/>
      </a:folHlink>
    </a:clrScheme>
    <a:fontScheme name="MAX-THEME FONT">
      <a:majorFont>
        <a:latin typeface="Arial"/>
        <a:ea typeface="Arial Unicode MS"/>
        <a:cs typeface=""/>
      </a:majorFont>
      <a:minorFont>
        <a:latin typeface="Arial"/>
        <a:ea typeface="Arial Unicode MS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Section Break Slide Master">
  <a:themeElements>
    <a:clrScheme name="Double-Exposure-Business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07C89"/>
      </a:accent1>
      <a:accent2>
        <a:srgbClr val="8CBABE"/>
      </a:accent2>
      <a:accent3>
        <a:srgbClr val="9CCCD2"/>
      </a:accent3>
      <a:accent4>
        <a:srgbClr val="507C89"/>
      </a:accent4>
      <a:accent5>
        <a:srgbClr val="8CBABE"/>
      </a:accent5>
      <a:accent6>
        <a:srgbClr val="9CCCD2"/>
      </a:accent6>
      <a:hlink>
        <a:srgbClr val="FFFFFF"/>
      </a:hlink>
      <a:folHlink>
        <a:srgbClr val="FFFFFF"/>
      </a:folHlink>
    </a:clrScheme>
    <a:fontScheme name="MAX-THEME FONT">
      <a:majorFont>
        <a:latin typeface="Arial"/>
        <a:ea typeface="Arial Unicode MS"/>
        <a:cs typeface=""/>
      </a:majorFont>
      <a:minorFont>
        <a:latin typeface="Arial"/>
        <a:ea typeface="Arial Unicode MS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Cover and End Slide Master">
  <a:themeElements>
    <a:clrScheme name="ALLPPT-BUSINESS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07C89"/>
      </a:accent1>
      <a:accent2>
        <a:srgbClr val="8CBABE"/>
      </a:accent2>
      <a:accent3>
        <a:srgbClr val="9CCCD2"/>
      </a:accent3>
      <a:accent4>
        <a:srgbClr val="507C89"/>
      </a:accent4>
      <a:accent5>
        <a:srgbClr val="8CBABE"/>
      </a:accent5>
      <a:accent6>
        <a:srgbClr val="9CCCD2"/>
      </a:accent6>
      <a:hlink>
        <a:srgbClr val="FFFFFF"/>
      </a:hlink>
      <a:folHlink>
        <a:srgbClr val="FFFFFF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3180</TotalTime>
  <Words>1276</Words>
  <Application>Microsoft Office PowerPoint</Application>
  <PresentationFormat>Widescreen</PresentationFormat>
  <Paragraphs>352</Paragraphs>
  <Slides>43</Slides>
  <Notes>42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4</vt:i4>
      </vt:variant>
      <vt:variant>
        <vt:lpstr>Slide Titles</vt:lpstr>
      </vt:variant>
      <vt:variant>
        <vt:i4>43</vt:i4>
      </vt:variant>
    </vt:vector>
  </HeadingPairs>
  <TitlesOfParts>
    <vt:vector size="53" baseType="lpstr">
      <vt:lpstr>Arial</vt:lpstr>
      <vt:lpstr>Calibri</vt:lpstr>
      <vt:lpstr>Calibri Light</vt:lpstr>
      <vt:lpstr>Cambria Math</vt:lpstr>
      <vt:lpstr>Times New Roman</vt:lpstr>
      <vt:lpstr>Wingdings</vt:lpstr>
      <vt:lpstr>Cover and End Slide Master</vt:lpstr>
      <vt:lpstr>Contents Slide Master</vt:lpstr>
      <vt:lpstr>Section Break Slide Master</vt:lpstr>
      <vt:lpstr>1_Cover and End Slide Master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llppt.com;Googleslidesppt.com</dc:creator>
  <cp:lastModifiedBy>Özgür MARTİN</cp:lastModifiedBy>
  <cp:revision>332</cp:revision>
  <dcterms:created xsi:type="dcterms:W3CDTF">2018-04-24T17:14:44Z</dcterms:created>
  <dcterms:modified xsi:type="dcterms:W3CDTF">2023-02-07T09:59:45Z</dcterms:modified>
</cp:coreProperties>
</file>